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3" r:id="rId1"/>
    <p:sldMasterId id="2147483686" r:id="rId2"/>
  </p:sldMasterIdLst>
  <p:notesMasterIdLst>
    <p:notesMasterId r:id="rId23"/>
  </p:notesMasterIdLst>
  <p:handoutMasterIdLst>
    <p:handoutMasterId r:id="rId24"/>
  </p:handoutMasterIdLst>
  <p:sldIdLst>
    <p:sldId id="516" r:id="rId3"/>
    <p:sldId id="520" r:id="rId4"/>
    <p:sldId id="539" r:id="rId5"/>
    <p:sldId id="513" r:id="rId6"/>
    <p:sldId id="530" r:id="rId7"/>
    <p:sldId id="531" r:id="rId8"/>
    <p:sldId id="522" r:id="rId9"/>
    <p:sldId id="535" r:id="rId10"/>
    <p:sldId id="541" r:id="rId11"/>
    <p:sldId id="540" r:id="rId12"/>
    <p:sldId id="518" r:id="rId13"/>
    <p:sldId id="519" r:id="rId14"/>
    <p:sldId id="524" r:id="rId15"/>
    <p:sldId id="536" r:id="rId16"/>
    <p:sldId id="525" r:id="rId17"/>
    <p:sldId id="533" r:id="rId18"/>
    <p:sldId id="542" r:id="rId19"/>
    <p:sldId id="543" r:id="rId20"/>
    <p:sldId id="545" r:id="rId21"/>
    <p:sldId id="538" r:id="rId2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mitry Dubinkin" initials="DD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6600"/>
    <a:srgbClr val="FFCCCC"/>
    <a:srgbClr val="003399"/>
    <a:srgbClr val="CC0000"/>
    <a:srgbClr val="FF0000"/>
    <a:srgbClr val="000099"/>
    <a:srgbClr val="006600"/>
    <a:srgbClr val="008000"/>
    <a:srgbClr val="FF99CC"/>
    <a:srgbClr val="CC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FECB4D8-DB02-4DC6-A0A2-4F2EBAE1DC90}" styleName="Средний стиль 1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306799F8-075E-4A3A-A7F6-7FBC6576F1A4}" styleName="Стиль из темы 2 - акцент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1EBBBCC-DAD2-459C-BE2E-F6DE35CF9A28}" styleName="Темный стиль 2 —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600" autoAdjust="0"/>
    <p:restoredTop sz="86551" autoAdjust="0"/>
  </p:normalViewPr>
  <p:slideViewPr>
    <p:cSldViewPr>
      <p:cViewPr>
        <p:scale>
          <a:sx n="100" d="100"/>
          <a:sy n="100" d="100"/>
        </p:scale>
        <p:origin x="-72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93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handoutMaster" Target="handoutMasters/handoutMaster1.xml"/><Relationship Id="rId32" Type="http://schemas.microsoft.com/office/2015/10/relationships/revisionInfo" Target="revisionInfo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288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288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28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AB1F1E1E-995B-4A03-9B7E-41C3192920B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36900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608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856E9E85-E930-4FB1-8E25-6B031BA6065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227980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56E9E85-E930-4FB1-8E25-6B031BA60652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44428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56E9E85-E930-4FB1-8E25-6B031BA60652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44428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56E9E85-E930-4FB1-8E25-6B031BA60652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7634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4530"/>
            <a:ext cx="6858000" cy="2387600"/>
          </a:xfrm>
        </p:spPr>
        <p:txBody>
          <a:bodyPr anchor="b">
            <a:normAutofit/>
          </a:bodyPr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 algn="ctr">
              <a:buNone/>
              <a:defRPr sz="2100"/>
            </a:lvl2pPr>
            <a:lvl3pPr marL="685800" indent="0" algn="ctr">
              <a:buNone/>
              <a:defRPr sz="1800"/>
            </a:lvl3pPr>
            <a:lvl4pPr marL="1028700" indent="0" algn="ctr">
              <a:buNone/>
              <a:defRPr sz="1500"/>
            </a:lvl4pPr>
            <a:lvl5pPr marL="1371600" indent="0" algn="ctr">
              <a:buNone/>
              <a:defRPr sz="1500"/>
            </a:lvl5pPr>
            <a:lvl6pPr marL="1714500" indent="0" algn="ctr">
              <a:buNone/>
              <a:defRPr sz="1500"/>
            </a:lvl6pPr>
            <a:lvl7pPr marL="2057400" indent="0" algn="ctr">
              <a:buNone/>
              <a:defRPr sz="1500"/>
            </a:lvl7pPr>
            <a:lvl8pPr marL="2400300" indent="0" algn="ctr">
              <a:buNone/>
              <a:defRPr sz="1500"/>
            </a:lvl8pPr>
            <a:lvl9pPr marL="2743200" indent="0" algn="ctr">
              <a:buNone/>
              <a:defRPr sz="15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D23504-D59A-4BDB-86D0-A68324E9E8EB}" type="datetimeFigureOut">
              <a:rPr lang="ru-RU" smtClean="0"/>
              <a:t>29.03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Заседание проблемной комиссии № 1 НТС ФМБА 15 сентября 2010 г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96A599-0870-4F3B-B0A2-17834E9E179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64064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936" y="457200"/>
            <a:ext cx="2948940" cy="1600200"/>
          </a:xfrm>
        </p:spPr>
        <p:txBody>
          <a:bodyPr anchor="b">
            <a:normAutofit/>
          </a:bodyPr>
          <a:lstStyle>
            <a:lvl1pPr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6200" y="990600"/>
            <a:ext cx="4629150" cy="4876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936" y="2057400"/>
            <a:ext cx="2948940" cy="3810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D23504-D59A-4BDB-86D0-A68324E9E8EB}" type="datetimeFigureOut">
              <a:rPr lang="ru-RU" smtClean="0"/>
              <a:t>29.03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Заседание проблемной комиссии № 1 НТС ФМБА 15 сентября 2010 г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96A599-0870-4F3B-B0A2-17834E9E179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96524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D23504-D59A-4BDB-86D0-A68324E9E8EB}" type="datetimeFigureOut">
              <a:rPr lang="ru-RU" smtClean="0"/>
              <a:t>29.03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Заседание проблемной комиссии № 1 НТС ФМБА 15 сентября 2010 г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96A599-0870-4F3B-B0A2-17834E9E179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08400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0362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0363"/>
            <a:ext cx="5800725" cy="581183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D23504-D59A-4BDB-86D0-A68324E9E8EB}" type="datetimeFigureOut">
              <a:rPr lang="ru-RU" smtClean="0"/>
              <a:t>29.03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Заседание проблемной комиссии № 1 НТС ФМБА 15 сентября 2010 г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96A599-0870-4F3B-B0A2-17834E9E179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82311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30B1526-E1FC-4911-90EB-309230E3D7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="" xmlns:a16="http://schemas.microsoft.com/office/drawing/2014/main" id="{EB3986CA-2309-42B7-A54F-F743D20F3C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DC76B5D2-ABA5-461A-909B-3800A69F4D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36FA7-8354-48A9-A8FE-AB0D88115DE1}" type="datetimeFigureOut">
              <a:rPr lang="ru-RU" smtClean="0"/>
              <a:t>29.03.2018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7230267F-D629-4B18-B2FE-1F69591B10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407925D6-6E22-435C-B93B-CABD89C563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B201F-D894-4ED4-AF41-093B22494D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36487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D03ED66-9DFA-4E6C-B07C-9C65136013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4323DF7F-D60C-41FC-A52D-2995E7A3DF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2A231AB8-BEF6-442E-89C0-D4A3CCB5E2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36FA7-8354-48A9-A8FE-AB0D88115DE1}" type="datetimeFigureOut">
              <a:rPr lang="ru-RU" smtClean="0"/>
              <a:t>29.03.2018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316BEF7D-E0DF-442B-BE57-8DD43CCBAA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F744CD7A-C0E3-4661-9F05-931D7F65A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B201F-D894-4ED4-AF41-093B22494D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92604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671517D-7FF8-4591-8C11-73CCE8D451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FDD5AB98-2315-4B65-B1E6-19850F419A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B9135DFC-6C19-4F1B-83F0-86F0B52DE7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36FA7-8354-48A9-A8FE-AB0D88115DE1}" type="datetimeFigureOut">
              <a:rPr lang="ru-RU" smtClean="0"/>
              <a:t>29.03.2018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18198195-C5B1-4D69-AACF-7FDA9EF120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F1F80F28-3117-49D7-AE60-BC0CAFC49C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B201F-D894-4ED4-AF41-093B22494D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33627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363C629B-DD10-4CD6-8538-27544E4C58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3E1892EC-3795-4E53-A61C-EC61F52EF4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625FD7CF-F75C-4D49-B0E1-61AE4E4569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61A816C0-6D2B-4180-9F10-148B93BC6A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36FA7-8354-48A9-A8FE-AB0D88115DE1}" type="datetimeFigureOut">
              <a:rPr lang="ru-RU" smtClean="0"/>
              <a:t>29.03.2018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36B2C48A-DF95-4A3B-BF2A-1581516B39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2EF3D692-6FA3-4D2A-8DBE-9C2DEC7F09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B201F-D894-4ED4-AF41-093B22494D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27906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F907144A-1CB9-4EAD-AFFF-544AAB021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E6260843-D125-4245-AD78-B475D08333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4921921F-C715-4CC7-82DD-8241C7BF66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="" xmlns:a16="http://schemas.microsoft.com/office/drawing/2014/main" id="{6B13801E-0416-44EA-A8D6-FD304B87BA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="" xmlns:a16="http://schemas.microsoft.com/office/drawing/2014/main" id="{DCE0377A-BB1B-41C9-B491-2C14EA2CBC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="" xmlns:a16="http://schemas.microsoft.com/office/drawing/2014/main" id="{396337A7-7538-4D4C-9299-7C3BFE462A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36FA7-8354-48A9-A8FE-AB0D88115DE1}" type="datetimeFigureOut">
              <a:rPr lang="ru-RU" smtClean="0"/>
              <a:t>29.03.2018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="" xmlns:a16="http://schemas.microsoft.com/office/drawing/2014/main" id="{C8B0EA1B-554C-4CA1-945A-B1BA88D3C8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="" xmlns:a16="http://schemas.microsoft.com/office/drawing/2014/main" id="{713D0D93-36F0-43C8-8C58-B4ACA919E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B201F-D894-4ED4-AF41-093B22494D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47067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4A12482-C120-42B0-A5FD-AC7C0445CD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507ED749-42EA-4118-86F2-5682B6AAE5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36FA7-8354-48A9-A8FE-AB0D88115DE1}" type="datetimeFigureOut">
              <a:rPr lang="ru-RU" smtClean="0"/>
              <a:t>29.03.2018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8A95AF52-3734-4C3F-8B26-E6E5409F2D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2B8E1A2D-B72C-4CDC-9F8F-0AB258C0B8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B201F-D894-4ED4-AF41-093B22494D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54049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="" xmlns:a16="http://schemas.microsoft.com/office/drawing/2014/main" id="{6B23FEAB-BDCB-4700-BE19-3BDAC06467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36FA7-8354-48A9-A8FE-AB0D88115DE1}" type="datetimeFigureOut">
              <a:rPr lang="ru-RU" smtClean="0"/>
              <a:t>29.03.2018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AA2F41C4-7955-4946-AAE9-F04E9D0BBC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B95DEAFE-F877-4B12-9985-47BFAB8384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B201F-D894-4ED4-AF41-093B22494D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05531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D23504-D59A-4BDB-86D0-A68324E9E8EB}" type="datetimeFigureOut">
              <a:rPr lang="ru-RU" smtClean="0"/>
              <a:t>29.03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Заседание проблемной комиссии № 1 НТС ФМБА 15 сентября 2010 г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96A599-0870-4F3B-B0A2-17834E9E179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784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D04A795A-8A81-40FF-9B2D-38E10F8F94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D51619B4-70D3-411A-BED7-53367F5B51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8830332A-4739-400F-9E10-ADBB81AEAD4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154F8389-AB07-4830-84DA-900D20DA0A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36FA7-8354-48A9-A8FE-AB0D88115DE1}" type="datetimeFigureOut">
              <a:rPr lang="ru-RU" smtClean="0"/>
              <a:t>29.03.2018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2A4E1878-FBDF-4C01-8F47-76D2358C63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42EF2B8F-2706-4899-8345-5A3C8C9FD9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B201F-D894-4ED4-AF41-093B22494D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90422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CA35BD18-2885-4278-87B5-AB338AD83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="" xmlns:a16="http://schemas.microsoft.com/office/drawing/2014/main" id="{F8BCF799-73EC-4A42-AFD0-83A1DFB0C4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195B2352-994D-4418-B9B5-2E16703899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CCA8BA28-9CFA-423B-8C4D-0B28CA7E7F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36FA7-8354-48A9-A8FE-AB0D88115DE1}" type="datetimeFigureOut">
              <a:rPr lang="ru-RU" smtClean="0"/>
              <a:t>29.03.2018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1B18AB00-1F8C-4A87-BF59-855FCD4AAC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B5C34C13-2CB3-4421-9B35-26C2B1EAA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B201F-D894-4ED4-AF41-093B22494D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6612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10B2B2B-0001-4AFA-AC12-3EB64DABA9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6C5162D6-BBBE-4ED8-BBA3-438EF5D113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C48919C7-DF62-46CA-A3B5-54E0952ED2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36FA7-8354-48A9-A8FE-AB0D88115DE1}" type="datetimeFigureOut">
              <a:rPr lang="ru-RU" smtClean="0"/>
              <a:t>29.03.2018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8E5DF823-14E8-45EE-8E85-DDB2FC8566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BE22586A-1F14-4E79-BA8E-96CF8278D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B201F-D894-4ED4-AF41-093B22494D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56511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="" xmlns:a16="http://schemas.microsoft.com/office/drawing/2014/main" id="{DE37D70A-A725-44F0-8582-4EA9B9DF9F9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A262FED2-2AE1-4D84-8A53-383822FF76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C011E688-EEE1-4807-878E-0DEC588B0F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36FA7-8354-48A9-A8FE-AB0D88115DE1}" type="datetimeFigureOut">
              <a:rPr lang="ru-RU" smtClean="0"/>
              <a:t>29.03.2018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49136C87-8152-4288-955F-0E4ED03284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411AF721-56EE-4C89-8F69-87948B015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B201F-D894-4ED4-AF41-093B22494D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38333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12423"/>
            <a:ext cx="7886700" cy="2851208"/>
          </a:xfrm>
        </p:spPr>
        <p:txBody>
          <a:bodyPr anchor="b">
            <a:normAutofit/>
          </a:bodyPr>
          <a:lstStyle>
            <a:lvl1pPr>
              <a:defRPr sz="45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52634"/>
            <a:ext cx="78867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D23504-D59A-4BDB-86D0-A68324E9E8EB}" type="datetimeFigureOut">
              <a:rPr lang="ru-RU" smtClean="0"/>
              <a:t>29.03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Заседание проблемной комиссии № 1 НТС ФМБА 15 сентября 2010 г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96A599-0870-4F3B-B0A2-17834E9E179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06462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3845" y="1828801"/>
            <a:ext cx="3886200" cy="435133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8801"/>
            <a:ext cx="3886200" cy="435133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D23504-D59A-4BDB-86D0-A68324E9E8EB}" type="datetimeFigureOut">
              <a:rPr lang="ru-RU" smtClean="0"/>
              <a:t>29.03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Заседание проблемной комиссии № 1 НТС ФМБА 15 сентября 2010 г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96A599-0870-4F3B-B0A2-17834E9E179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87619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9AF86894-62DB-45A1-A1CF-8E2CE8218F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04D89ABC-77ED-4DBE-9AFC-4F85F974AB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D23504-D59A-4BDB-86D0-A68324E9E8EB}" type="datetimeFigureOut">
              <a:rPr lang="ru-RU" smtClean="0"/>
              <a:t>29.03.2018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18254B3F-D7BC-416B-A9F8-2CC9FD56CC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Заседание проблемной комиссии № 1 НТС ФМБА 15 сентября 2010 г.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6E39A06F-47E8-457B-83FC-08F87ABB49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96A599-0870-4F3B-B0A2-17834E9E179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73809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3845" y="1681851"/>
            <a:ext cx="3867150" cy="825699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845" y="2507551"/>
            <a:ext cx="3867150" cy="36805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851"/>
            <a:ext cx="3886201" cy="82569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7551"/>
            <a:ext cx="3886201" cy="36805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D23504-D59A-4BDB-86D0-A68324E9E8EB}" type="datetimeFigureOut">
              <a:rPr lang="ru-RU" smtClean="0"/>
              <a:t>29.03.2018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Заседание проблемной комиссии № 1 НТС ФМБА 15 сентября 2010 г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96A599-0870-4F3B-B0A2-17834E9E1794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36434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D23504-D59A-4BDB-86D0-A68324E9E8EB}" type="datetimeFigureOut">
              <a:rPr lang="ru-RU" smtClean="0"/>
              <a:t>29.03.2018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Заседание проблемной комиссии № 1 НТС ФМБА 15 сентября 2010 г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96A599-0870-4F3B-B0A2-17834E9E1794}" type="slidenum">
              <a:rPr lang="ru-RU" smtClean="0"/>
              <a:t>‹#›</a:t>
            </a:fld>
            <a:endParaRPr lang="ru-RU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93850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D23504-D59A-4BDB-86D0-A68324E9E8EB}" type="datetimeFigureOut">
              <a:rPr lang="ru-RU" smtClean="0"/>
              <a:t>29.03.2018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Заседание проблемной комиссии № 1 НТС ФМБА 15 сентября 2010 г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96A599-0870-4F3B-B0A2-17834E9E179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62976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936" y="457201"/>
            <a:ext cx="2948940" cy="1600197"/>
          </a:xfrm>
        </p:spPr>
        <p:txBody>
          <a:bodyPr anchor="b">
            <a:normAutofit/>
          </a:bodyPr>
          <a:lstStyle>
            <a:lvl1pPr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6200" y="990600"/>
            <a:ext cx="4629150" cy="4876800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936" y="2057399"/>
            <a:ext cx="2948940" cy="3810001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D23504-D59A-4BDB-86D0-A68324E9E8EB}" type="datetimeFigureOut">
              <a:rPr lang="ru-RU" smtClean="0"/>
              <a:t>29.03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Заседание проблемной комиссии № 1 НТС ФМБА 15 сентября 2010 г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96A599-0870-4F3B-B0A2-17834E9E179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29349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33845" y="365760"/>
            <a:ext cx="7886700" cy="1325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3845" y="1828801"/>
            <a:ext cx="788670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25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25D23504-D59A-4BDB-86D0-A68324E9E8EB}" type="datetimeFigureOut">
              <a:rPr lang="ru-RU" smtClean="0"/>
              <a:t>29.03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25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/>
              <a:t>Заседание проблемной комиссии № 1 НТС ФМБА 15 сентября 2010 г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63145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2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96A599-0870-4F3B-B0A2-17834E9E1794}" type="slidenum">
              <a:rPr lang="ru-RU" smtClean="0"/>
              <a:t>‹#›</a:t>
            </a:fld>
            <a:endParaRPr lang="ru-RU"/>
          </a:p>
        </p:txBody>
      </p:sp>
      <p:pic>
        <p:nvPicPr>
          <p:cNvPr id="9" name="Picture 15" descr="fmba new - ZASTAVKA">
            <a:extLst>
              <a:ext uri="{FF2B5EF4-FFF2-40B4-BE49-F238E27FC236}">
                <a16:creationId xmlns="" xmlns:a16="http://schemas.microsoft.com/office/drawing/2014/main" id="{F6230E03-1DE1-490D-BB95-81226989574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101013" y="0"/>
            <a:ext cx="1042987" cy="1041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454704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85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Wingdings 2" pitchFamily="18" charset="2"/>
        <a:buChar char="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 2" pitchFamily="18" charset="2"/>
        <a:buChar char="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 2" pitchFamily="18" charset="2"/>
        <a:buChar char="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 2" pitchFamily="18" charset="2"/>
        <a:buChar char="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Wingdings 2" pitchFamily="18" charset="2"/>
        <a:buChar char="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Wingdings 2" pitchFamily="18" charset="2"/>
        <a:buChar char="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Wingdings 2" pitchFamily="18" charset="2"/>
        <a:buChar char="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Wingdings 2" pitchFamily="18" charset="2"/>
        <a:buChar char="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F022D760-D9EC-4D98-A569-79DBE90451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727D4882-F6B2-4CF2-9361-02B0563BD9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B50921E4-97C7-42EC-B8F0-76A50C7C5D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C36FA7-8354-48A9-A8FE-AB0D88115DE1}" type="datetimeFigureOut">
              <a:rPr lang="ru-RU" smtClean="0"/>
              <a:t>29.03.2018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B4A216CB-33B3-4064-9504-9CA56C2A86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BB65D680-CDFD-49AC-B42E-88F317BEB3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CB201F-D894-4ED4-AF41-093B22494D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8821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8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slideLayout" Target="../slideLayouts/slideLayout2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.gif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51520" y="2723436"/>
            <a:ext cx="856895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+mj-lt"/>
              </a:rPr>
              <a:t>Инициативное предложение </a:t>
            </a:r>
            <a:endParaRPr lang="ru-RU" sz="2400" b="1" dirty="0">
              <a:solidFill>
                <a:srgbClr val="002060"/>
              </a:solidFill>
              <a:latin typeface="+mj-lt"/>
            </a:endParaRP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+mj-lt"/>
              </a:rPr>
              <a:t>по применению технологии генераторного метода получения препарата иттрия-90 и созданию производств медицинской продукции на его основе в государствах-членах СНГ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05966" y="5085184"/>
            <a:ext cx="7023154" cy="15358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30000"/>
              </a:lnSpc>
            </a:pPr>
            <a:r>
              <a:rPr 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Дубинкин Дмитрий Олегович</a:t>
            </a:r>
          </a:p>
          <a:p>
            <a:pPr algn="l"/>
            <a:endParaRPr lang="ru-RU" sz="3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  <a:p>
            <a:pPr algn="l"/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Советник директора ФГУП «Федеральный центр по проектированию и </a:t>
            </a:r>
          </a:p>
          <a:p>
            <a:pPr algn="l"/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развитию объектов ядерной медицины» ФМБА России </a:t>
            </a:r>
          </a:p>
          <a:p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ru-RU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к.х.н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</a:t>
            </a: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по спец. «Радиохимия»</a:t>
            </a:r>
          </a:p>
          <a:p>
            <a:pPr algn="l"/>
            <a:endParaRPr lang="ru-RU" sz="3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  <a:p>
            <a:pPr lvl="0" algn="l"/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Эксперт РАН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05966" y="188640"/>
            <a:ext cx="856895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002060"/>
                </a:solidFill>
                <a:latin typeface="+mj-lt"/>
              </a:rPr>
              <a:t>Заседание Рабочей группы </a:t>
            </a:r>
          </a:p>
          <a:p>
            <a:pPr algn="ctr"/>
            <a:r>
              <a:rPr lang="ru-RU" sz="1600" b="1" dirty="0">
                <a:solidFill>
                  <a:srgbClr val="002060"/>
                </a:solidFill>
                <a:latin typeface="+mj-lt"/>
              </a:rPr>
              <a:t>«Сотрудничество в области производства, использования и продвижения изотопной продукции государств – участников СНГ» </a:t>
            </a:r>
          </a:p>
          <a:p>
            <a:pPr algn="ctr"/>
            <a:r>
              <a:rPr lang="ru-RU" sz="1600" b="1" dirty="0">
                <a:solidFill>
                  <a:srgbClr val="002060"/>
                </a:solidFill>
                <a:latin typeface="+mj-lt"/>
              </a:rPr>
              <a:t>Комиссии государств – участников СНГ по использованию атомной энергии в мирных целях!</a:t>
            </a:r>
          </a:p>
          <a:p>
            <a:pPr algn="ctr"/>
            <a:r>
              <a:rPr lang="ru-RU" sz="1600" b="1" dirty="0">
                <a:solidFill>
                  <a:srgbClr val="002060"/>
                </a:solidFill>
                <a:latin typeface="+mj-lt"/>
              </a:rPr>
              <a:t>29 марта 2018 г</a:t>
            </a:r>
          </a:p>
        </p:txBody>
      </p:sp>
    </p:spTree>
    <p:extLst>
      <p:ext uri="{BB962C8B-B14F-4D97-AF65-F5344CB8AC3E}">
        <p14:creationId xmlns:p14="http://schemas.microsoft.com/office/powerpoint/2010/main" val="14326705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02299"/>
            <a:ext cx="9129131" cy="51366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4" name="Oval 5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22067" y="5040404"/>
            <a:ext cx="76846" cy="77677"/>
          </a:xfrm>
          <a:prstGeom prst="ellipse">
            <a:avLst/>
          </a:prstGeom>
          <a:solidFill>
            <a:srgbClr val="FFC000"/>
          </a:solidFill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144" name="Oval 5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453457" y="3332890"/>
            <a:ext cx="76846" cy="77677"/>
          </a:xfrm>
          <a:prstGeom prst="ellipse">
            <a:avLst/>
          </a:prstGeom>
          <a:solidFill>
            <a:srgbClr val="92D050"/>
          </a:solidFill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148" name="Oval 5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274008" y="5225053"/>
            <a:ext cx="76846" cy="77677"/>
          </a:xfrm>
          <a:prstGeom prst="ellipse">
            <a:avLst/>
          </a:prstGeom>
          <a:solidFill>
            <a:srgbClr val="FFC000"/>
          </a:solidFill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163" name="Oval 5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118378" y="5530168"/>
            <a:ext cx="76846" cy="77677"/>
          </a:xfrm>
          <a:prstGeom prst="ellipse">
            <a:avLst/>
          </a:prstGeom>
          <a:solidFill>
            <a:srgbClr val="FFC000"/>
          </a:solidFill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cxnSp>
        <p:nvCxnSpPr>
          <p:cNvPr id="228" name="Прямая соединительная линия 227"/>
          <p:cNvCxnSpPr>
            <a:stCxn id="196" idx="3"/>
            <a:endCxn id="165" idx="6"/>
          </p:cNvCxnSpPr>
          <p:nvPr/>
        </p:nvCxnSpPr>
        <p:spPr>
          <a:xfrm flipV="1">
            <a:off x="3274448" y="5293688"/>
            <a:ext cx="617619" cy="11287"/>
          </a:xfrm>
          <a:prstGeom prst="line">
            <a:avLst/>
          </a:prstGeom>
          <a:ln>
            <a:solidFill>
              <a:srgbClr val="4555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Прямая соединительная линия 229"/>
          <p:cNvCxnSpPr>
            <a:stCxn id="196" idx="5"/>
            <a:endCxn id="169" idx="1"/>
          </p:cNvCxnSpPr>
          <p:nvPr/>
        </p:nvCxnSpPr>
        <p:spPr>
          <a:xfrm flipH="1" flipV="1">
            <a:off x="1702934" y="4241531"/>
            <a:ext cx="1657878" cy="1063444"/>
          </a:xfrm>
          <a:prstGeom prst="line">
            <a:avLst/>
          </a:prstGeom>
          <a:ln>
            <a:solidFill>
              <a:srgbClr val="4555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Прямая соединительная линия 230"/>
          <p:cNvCxnSpPr>
            <a:stCxn id="196" idx="3"/>
            <a:endCxn id="163" idx="6"/>
          </p:cNvCxnSpPr>
          <p:nvPr/>
        </p:nvCxnSpPr>
        <p:spPr>
          <a:xfrm flipH="1">
            <a:off x="3195224" y="5304975"/>
            <a:ext cx="79224" cy="264032"/>
          </a:xfrm>
          <a:prstGeom prst="line">
            <a:avLst/>
          </a:prstGeom>
          <a:ln>
            <a:solidFill>
              <a:srgbClr val="4555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Прямая соединительная линия 231"/>
          <p:cNvCxnSpPr>
            <a:stCxn id="196" idx="6"/>
            <a:endCxn id="94" idx="7"/>
          </p:cNvCxnSpPr>
          <p:nvPr/>
        </p:nvCxnSpPr>
        <p:spPr>
          <a:xfrm flipH="1" flipV="1">
            <a:off x="2287659" y="5051780"/>
            <a:ext cx="1091039" cy="212111"/>
          </a:xfrm>
          <a:prstGeom prst="line">
            <a:avLst/>
          </a:prstGeom>
          <a:ln>
            <a:solidFill>
              <a:srgbClr val="4555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Прямая соединительная линия 232"/>
          <p:cNvCxnSpPr>
            <a:stCxn id="196" idx="2"/>
            <a:endCxn id="148" idx="6"/>
          </p:cNvCxnSpPr>
          <p:nvPr/>
        </p:nvCxnSpPr>
        <p:spPr>
          <a:xfrm>
            <a:off x="3256562" y="5263891"/>
            <a:ext cx="94292" cy="1"/>
          </a:xfrm>
          <a:prstGeom prst="line">
            <a:avLst/>
          </a:prstGeom>
          <a:ln>
            <a:solidFill>
              <a:srgbClr val="4555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Прямая соединительная линия 233"/>
          <p:cNvCxnSpPr>
            <a:stCxn id="196" idx="1"/>
            <a:endCxn id="178" idx="5"/>
          </p:cNvCxnSpPr>
          <p:nvPr/>
        </p:nvCxnSpPr>
        <p:spPr>
          <a:xfrm flipV="1">
            <a:off x="3274448" y="4155315"/>
            <a:ext cx="537631" cy="1067491"/>
          </a:xfrm>
          <a:prstGeom prst="line">
            <a:avLst/>
          </a:prstGeom>
          <a:ln>
            <a:solidFill>
              <a:srgbClr val="4555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Прямая соединительная линия 238"/>
          <p:cNvCxnSpPr>
            <a:stCxn id="196" idx="4"/>
            <a:endCxn id="144" idx="4"/>
          </p:cNvCxnSpPr>
          <p:nvPr/>
        </p:nvCxnSpPr>
        <p:spPr>
          <a:xfrm flipV="1">
            <a:off x="3317630" y="3410567"/>
            <a:ext cx="174250" cy="1911426"/>
          </a:xfrm>
          <a:prstGeom prst="line">
            <a:avLst/>
          </a:prstGeom>
          <a:ln>
            <a:solidFill>
              <a:srgbClr val="4555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Прямая соединительная линия 260"/>
          <p:cNvCxnSpPr/>
          <p:nvPr/>
        </p:nvCxnSpPr>
        <p:spPr>
          <a:xfrm flipV="1">
            <a:off x="3344678" y="5186214"/>
            <a:ext cx="136942" cy="77676"/>
          </a:xfrm>
          <a:prstGeom prst="line">
            <a:avLst/>
          </a:prstGeom>
          <a:ln>
            <a:solidFill>
              <a:srgbClr val="4555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2" name="Прямая соединительная линия 261"/>
          <p:cNvCxnSpPr>
            <a:stCxn id="196" idx="6"/>
            <a:endCxn id="141" idx="2"/>
          </p:cNvCxnSpPr>
          <p:nvPr/>
        </p:nvCxnSpPr>
        <p:spPr>
          <a:xfrm flipH="1" flipV="1">
            <a:off x="2030991" y="4089014"/>
            <a:ext cx="1347707" cy="1174877"/>
          </a:xfrm>
          <a:prstGeom prst="line">
            <a:avLst/>
          </a:prstGeom>
          <a:ln>
            <a:solidFill>
              <a:srgbClr val="4555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Прямая соединительная линия 265"/>
          <p:cNvCxnSpPr/>
          <p:nvPr/>
        </p:nvCxnSpPr>
        <p:spPr>
          <a:xfrm flipH="1" flipV="1">
            <a:off x="1293655" y="3927840"/>
            <a:ext cx="2756604" cy="1212335"/>
          </a:xfrm>
          <a:prstGeom prst="line">
            <a:avLst/>
          </a:prstGeom>
          <a:ln>
            <a:solidFill>
              <a:srgbClr val="4555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Прямоугольник 142"/>
          <p:cNvSpPr/>
          <p:nvPr/>
        </p:nvSpPr>
        <p:spPr>
          <a:xfrm>
            <a:off x="4055177" y="4832398"/>
            <a:ext cx="802784" cy="307777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solidFill>
              <a:schemeClr val="accent1"/>
            </a:solidFill>
          </a:ln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Алматы</a:t>
            </a:r>
            <a:endParaRPr lang="en-US" sz="1400" b="1" dirty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</a:endParaRPr>
          </a:p>
        </p:txBody>
      </p:sp>
      <p:sp>
        <p:nvSpPr>
          <p:cNvPr id="279" name="Прямоугольник 278"/>
          <p:cNvSpPr/>
          <p:nvPr/>
        </p:nvSpPr>
        <p:spPr>
          <a:xfrm>
            <a:off x="3483966" y="3856960"/>
            <a:ext cx="633507" cy="276999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200" b="1" dirty="0" smtClean="0">
                <a:cs typeface="Arial" pitchFamily="34" charset="0"/>
              </a:rPr>
              <a:t>Астана</a:t>
            </a:r>
            <a:endParaRPr lang="en-US" sz="1200" b="1" dirty="0">
              <a:cs typeface="Arial" pitchFamily="34" charset="0"/>
            </a:endParaRPr>
          </a:p>
        </p:txBody>
      </p:sp>
      <p:sp>
        <p:nvSpPr>
          <p:cNvPr id="48" name="Oval 1194"/>
          <p:cNvSpPr>
            <a:spLocks noChangeArrowheads="1"/>
          </p:cNvSpPr>
          <p:nvPr/>
        </p:nvSpPr>
        <p:spPr bwMode="auto">
          <a:xfrm>
            <a:off x="2696600" y="2245289"/>
            <a:ext cx="68916" cy="68499"/>
          </a:xfrm>
          <a:prstGeom prst="ellipse">
            <a:avLst/>
          </a:prstGeom>
          <a:solidFill>
            <a:srgbClr val="FFC000"/>
          </a:solidFill>
          <a:ln w="1270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50" name="Oval 52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231924" y="1423181"/>
            <a:ext cx="76846" cy="77677"/>
          </a:xfrm>
          <a:prstGeom prst="ellipse">
            <a:avLst/>
          </a:prstGeom>
          <a:solidFill>
            <a:srgbClr val="92D050"/>
          </a:solidFill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52" name="Oval 52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376945" y="2057094"/>
            <a:ext cx="76846" cy="77677"/>
          </a:xfrm>
          <a:prstGeom prst="ellipse">
            <a:avLst/>
          </a:prstGeom>
          <a:solidFill>
            <a:srgbClr val="92D050"/>
          </a:solidFill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53" name="Oval 52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482592" y="2033221"/>
            <a:ext cx="76846" cy="77677"/>
          </a:xfrm>
          <a:prstGeom prst="ellipse">
            <a:avLst/>
          </a:prstGeom>
          <a:solidFill>
            <a:srgbClr val="92D050"/>
          </a:solidFill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59" name="Oval 52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398363" y="2777390"/>
            <a:ext cx="76846" cy="77677"/>
          </a:xfrm>
          <a:prstGeom prst="ellipse">
            <a:avLst/>
          </a:prstGeom>
          <a:solidFill>
            <a:srgbClr val="FFC000"/>
          </a:solidFill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60" name="Oval 5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725317" y="1561681"/>
            <a:ext cx="76846" cy="77677"/>
          </a:xfrm>
          <a:prstGeom prst="ellipse">
            <a:avLst/>
          </a:prstGeom>
          <a:solidFill>
            <a:srgbClr val="92D050"/>
          </a:solidFill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62" name="Oval 52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861171" y="2958915"/>
            <a:ext cx="76846" cy="77677"/>
          </a:xfrm>
          <a:prstGeom prst="ellipse">
            <a:avLst/>
          </a:prstGeom>
          <a:solidFill>
            <a:srgbClr val="92D050"/>
          </a:solidFill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cxnSp>
        <p:nvCxnSpPr>
          <p:cNvPr id="65" name="Прямая соединительная линия 64"/>
          <p:cNvCxnSpPr>
            <a:stCxn id="80" idx="5"/>
            <a:endCxn id="59" idx="1"/>
          </p:cNvCxnSpPr>
          <p:nvPr/>
        </p:nvCxnSpPr>
        <p:spPr>
          <a:xfrm>
            <a:off x="2312306" y="2242558"/>
            <a:ext cx="97311" cy="546208"/>
          </a:xfrm>
          <a:prstGeom prst="line">
            <a:avLst/>
          </a:prstGeom>
          <a:ln>
            <a:solidFill>
              <a:srgbClr val="4555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>
            <a:stCxn id="80" idx="2"/>
            <a:endCxn id="53" idx="6"/>
          </p:cNvCxnSpPr>
          <p:nvPr/>
        </p:nvCxnSpPr>
        <p:spPr>
          <a:xfrm flipH="1" flipV="1">
            <a:off x="1559438" y="2072060"/>
            <a:ext cx="648618" cy="129414"/>
          </a:xfrm>
          <a:prstGeom prst="line">
            <a:avLst/>
          </a:prstGeom>
          <a:ln>
            <a:solidFill>
              <a:srgbClr val="4555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>
            <a:stCxn id="80" idx="1"/>
            <a:endCxn id="60" idx="5"/>
          </p:cNvCxnSpPr>
          <p:nvPr/>
        </p:nvCxnSpPr>
        <p:spPr>
          <a:xfrm flipH="1" flipV="1">
            <a:off x="1790909" y="1627982"/>
            <a:ext cx="435033" cy="532407"/>
          </a:xfrm>
          <a:prstGeom prst="line">
            <a:avLst/>
          </a:prstGeom>
          <a:ln>
            <a:solidFill>
              <a:srgbClr val="4555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/>
          <p:nvPr/>
        </p:nvCxnSpPr>
        <p:spPr>
          <a:xfrm flipV="1">
            <a:off x="2266033" y="2100910"/>
            <a:ext cx="146244" cy="124805"/>
          </a:xfrm>
          <a:prstGeom prst="line">
            <a:avLst/>
          </a:prstGeom>
          <a:ln>
            <a:solidFill>
              <a:srgbClr val="4555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Oval 52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688670" y="2585185"/>
            <a:ext cx="76846" cy="77677"/>
          </a:xfrm>
          <a:prstGeom prst="ellipse">
            <a:avLst/>
          </a:prstGeom>
          <a:solidFill>
            <a:srgbClr val="92D050"/>
          </a:solidFill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cxnSp>
        <p:nvCxnSpPr>
          <p:cNvPr id="73" name="Прямая соединительная линия 72"/>
          <p:cNvCxnSpPr>
            <a:stCxn id="80" idx="5"/>
            <a:endCxn id="72" idx="0"/>
          </p:cNvCxnSpPr>
          <p:nvPr/>
        </p:nvCxnSpPr>
        <p:spPr>
          <a:xfrm>
            <a:off x="2312306" y="2242558"/>
            <a:ext cx="414787" cy="342627"/>
          </a:xfrm>
          <a:prstGeom prst="line">
            <a:avLst/>
          </a:prstGeom>
          <a:ln>
            <a:solidFill>
              <a:srgbClr val="4555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>
            <a:stCxn id="80" idx="6"/>
            <a:endCxn id="50" idx="2"/>
          </p:cNvCxnSpPr>
          <p:nvPr/>
        </p:nvCxnSpPr>
        <p:spPr>
          <a:xfrm flipV="1">
            <a:off x="2330192" y="1462020"/>
            <a:ext cx="901732" cy="739454"/>
          </a:xfrm>
          <a:prstGeom prst="line">
            <a:avLst/>
          </a:prstGeom>
          <a:ln>
            <a:solidFill>
              <a:srgbClr val="4555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Oval 52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434553" y="1316666"/>
            <a:ext cx="76846" cy="77677"/>
          </a:xfrm>
          <a:prstGeom prst="ellipse">
            <a:avLst/>
          </a:prstGeom>
          <a:solidFill>
            <a:srgbClr val="92D050"/>
          </a:solidFill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cxnSp>
        <p:nvCxnSpPr>
          <p:cNvPr id="76" name="Прямая соединительная линия 75"/>
          <p:cNvCxnSpPr>
            <a:stCxn id="80" idx="0"/>
            <a:endCxn id="75" idx="4"/>
          </p:cNvCxnSpPr>
          <p:nvPr/>
        </p:nvCxnSpPr>
        <p:spPr>
          <a:xfrm flipV="1">
            <a:off x="2269124" y="1394343"/>
            <a:ext cx="203852" cy="749028"/>
          </a:xfrm>
          <a:prstGeom prst="line">
            <a:avLst/>
          </a:prstGeom>
          <a:ln>
            <a:solidFill>
              <a:srgbClr val="4555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Прямоугольник 76"/>
          <p:cNvSpPr/>
          <p:nvPr/>
        </p:nvSpPr>
        <p:spPr>
          <a:xfrm>
            <a:off x="1800442" y="2259576"/>
            <a:ext cx="861134" cy="307777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solidFill>
              <a:schemeClr val="accent1"/>
            </a:solidFill>
          </a:ln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400" b="1" dirty="0" smtClean="0">
                <a:solidFill>
                  <a:srgbClr val="CC0000"/>
                </a:solidFill>
                <a:cs typeface="Arial" pitchFamily="34" charset="0"/>
              </a:rPr>
              <a:t>Обнинск</a:t>
            </a:r>
            <a:endParaRPr lang="en-US" sz="1400" b="1" dirty="0">
              <a:solidFill>
                <a:srgbClr val="CC0000"/>
              </a:solidFill>
              <a:cs typeface="Arial" pitchFamily="34" charset="0"/>
            </a:endParaRPr>
          </a:p>
        </p:txBody>
      </p:sp>
      <p:cxnSp>
        <p:nvCxnSpPr>
          <p:cNvPr id="78" name="Прямая соединительная линия 77"/>
          <p:cNvCxnSpPr>
            <a:stCxn id="80" idx="6"/>
            <a:endCxn id="48" idx="2"/>
          </p:cNvCxnSpPr>
          <p:nvPr/>
        </p:nvCxnSpPr>
        <p:spPr>
          <a:xfrm>
            <a:off x="2330192" y="2201474"/>
            <a:ext cx="366408" cy="78065"/>
          </a:xfrm>
          <a:prstGeom prst="line">
            <a:avLst/>
          </a:prstGeom>
          <a:ln>
            <a:solidFill>
              <a:srgbClr val="4555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78"/>
          <p:cNvCxnSpPr>
            <a:stCxn id="80" idx="5"/>
            <a:endCxn id="62" idx="2"/>
          </p:cNvCxnSpPr>
          <p:nvPr/>
        </p:nvCxnSpPr>
        <p:spPr>
          <a:xfrm>
            <a:off x="2312306" y="2242558"/>
            <a:ext cx="1548865" cy="755196"/>
          </a:xfrm>
          <a:prstGeom prst="line">
            <a:avLst/>
          </a:prstGeom>
          <a:ln>
            <a:solidFill>
              <a:srgbClr val="4555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Oval 1202"/>
          <p:cNvSpPr>
            <a:spLocks noChangeArrowheads="1"/>
          </p:cNvSpPr>
          <p:nvPr/>
        </p:nvSpPr>
        <p:spPr bwMode="auto">
          <a:xfrm>
            <a:off x="2208056" y="2143371"/>
            <a:ext cx="122136" cy="116205"/>
          </a:xfrm>
          <a:prstGeom prst="ellipse">
            <a:avLst/>
          </a:prstGeom>
          <a:solidFill>
            <a:srgbClr val="C00000"/>
          </a:solidFill>
          <a:ln w="1270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2051720" y="1825992"/>
            <a:ext cx="692818" cy="276999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200" b="1" dirty="0" smtClean="0">
                <a:cs typeface="Arial" pitchFamily="34" charset="0"/>
              </a:rPr>
              <a:t>Москва</a:t>
            </a:r>
            <a:endParaRPr lang="en-US" sz="1200" b="1" dirty="0">
              <a:cs typeface="Arial" pitchFamily="34" charset="0"/>
            </a:endParaRPr>
          </a:p>
        </p:txBody>
      </p:sp>
      <p:sp>
        <p:nvSpPr>
          <p:cNvPr id="84" name="Прямоугольник 83"/>
          <p:cNvSpPr/>
          <p:nvPr/>
        </p:nvSpPr>
        <p:spPr>
          <a:xfrm>
            <a:off x="1173272" y="3548914"/>
            <a:ext cx="654346" cy="276999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200" b="1" dirty="0" smtClean="0">
                <a:cs typeface="Arial" pitchFamily="34" charset="0"/>
              </a:rPr>
              <a:t>Ереван</a:t>
            </a:r>
            <a:endParaRPr lang="en-US" sz="1200" b="1" dirty="0">
              <a:cs typeface="Arial" pitchFamily="34" charset="0"/>
            </a:endParaRPr>
          </a:p>
        </p:txBody>
      </p:sp>
      <p:sp>
        <p:nvSpPr>
          <p:cNvPr id="88" name="Прямоугольник 87"/>
          <p:cNvSpPr/>
          <p:nvPr/>
        </p:nvSpPr>
        <p:spPr>
          <a:xfrm>
            <a:off x="2644353" y="4994344"/>
            <a:ext cx="829394" cy="307777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400" b="1" dirty="0" smtClean="0">
                <a:solidFill>
                  <a:srgbClr val="FF0000"/>
                </a:solidFill>
                <a:cs typeface="Arial" pitchFamily="34" charset="0"/>
              </a:rPr>
              <a:t>Ташкент</a:t>
            </a:r>
            <a:endParaRPr lang="en-US" sz="1200" b="1" dirty="0">
              <a:solidFill>
                <a:srgbClr val="FF0000"/>
              </a:solidFill>
              <a:cs typeface="Arial" pitchFamily="34" charset="0"/>
            </a:endParaRPr>
          </a:p>
        </p:txBody>
      </p:sp>
      <p:sp>
        <p:nvSpPr>
          <p:cNvPr id="90" name="Прямоугольник 89"/>
          <p:cNvSpPr/>
          <p:nvPr/>
        </p:nvSpPr>
        <p:spPr>
          <a:xfrm>
            <a:off x="3567570" y="5274945"/>
            <a:ext cx="696794" cy="276999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200" b="1" dirty="0" smtClean="0">
                <a:cs typeface="Arial" pitchFamily="34" charset="0"/>
              </a:rPr>
              <a:t>Бишкек</a:t>
            </a:r>
            <a:endParaRPr lang="en-US" sz="1200" b="1" dirty="0">
              <a:cs typeface="Arial" pitchFamily="34" charset="0"/>
            </a:endParaRPr>
          </a:p>
        </p:txBody>
      </p:sp>
      <p:sp>
        <p:nvSpPr>
          <p:cNvPr id="95" name="Прямоугольник 94"/>
          <p:cNvSpPr/>
          <p:nvPr/>
        </p:nvSpPr>
        <p:spPr>
          <a:xfrm>
            <a:off x="2700125" y="5565138"/>
            <a:ext cx="791755" cy="276999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200" b="1" dirty="0" smtClean="0">
                <a:cs typeface="Arial" pitchFamily="34" charset="0"/>
              </a:rPr>
              <a:t>Душанбе</a:t>
            </a:r>
            <a:endParaRPr lang="en-US" sz="1200" b="1" dirty="0">
              <a:cs typeface="Arial" pitchFamily="34" charset="0"/>
            </a:endParaRPr>
          </a:p>
        </p:txBody>
      </p:sp>
      <p:sp>
        <p:nvSpPr>
          <p:cNvPr id="97" name="Прямоугольник 96"/>
          <p:cNvSpPr/>
          <p:nvPr/>
        </p:nvSpPr>
        <p:spPr>
          <a:xfrm>
            <a:off x="1666296" y="4747131"/>
            <a:ext cx="787395" cy="276999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200" b="1" dirty="0" smtClean="0">
                <a:cs typeface="Arial" pitchFamily="34" charset="0"/>
              </a:rPr>
              <a:t>Ашхабад</a:t>
            </a:r>
            <a:endParaRPr lang="en-US" sz="1200" b="1" dirty="0">
              <a:cs typeface="Arial" pitchFamily="34" charset="0"/>
            </a:endParaRPr>
          </a:p>
        </p:txBody>
      </p:sp>
      <p:sp>
        <p:nvSpPr>
          <p:cNvPr id="100" name="Прямоугольник 99"/>
          <p:cNvSpPr/>
          <p:nvPr/>
        </p:nvSpPr>
        <p:spPr>
          <a:xfrm>
            <a:off x="1210530" y="4135431"/>
            <a:ext cx="492444" cy="276999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200" b="1" dirty="0" smtClean="0">
                <a:cs typeface="Arial" pitchFamily="34" charset="0"/>
              </a:rPr>
              <a:t>Баку</a:t>
            </a:r>
            <a:endParaRPr lang="en-US" sz="1200" b="1" dirty="0">
              <a:cs typeface="Arial" pitchFamily="34" charset="0"/>
            </a:endParaRPr>
          </a:p>
        </p:txBody>
      </p:sp>
      <p:sp>
        <p:nvSpPr>
          <p:cNvPr id="101" name="Прямоугольник 100"/>
          <p:cNvSpPr/>
          <p:nvPr/>
        </p:nvSpPr>
        <p:spPr>
          <a:xfrm>
            <a:off x="1183207" y="1748714"/>
            <a:ext cx="508473" cy="276999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200" b="1" dirty="0" smtClean="0">
                <a:cs typeface="Arial" pitchFamily="34" charset="0"/>
              </a:rPr>
              <a:t>Киев</a:t>
            </a:r>
            <a:endParaRPr lang="en-US" sz="1200" b="1" dirty="0">
              <a:cs typeface="Arial" pitchFamily="34" charset="0"/>
            </a:endParaRPr>
          </a:p>
        </p:txBody>
      </p:sp>
      <p:sp>
        <p:nvSpPr>
          <p:cNvPr id="102" name="Прямоугольник 101"/>
          <p:cNvSpPr/>
          <p:nvPr/>
        </p:nvSpPr>
        <p:spPr>
          <a:xfrm>
            <a:off x="1333925" y="1284682"/>
            <a:ext cx="627095" cy="276999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200" b="1" dirty="0" smtClean="0">
                <a:cs typeface="Arial" pitchFamily="34" charset="0"/>
              </a:rPr>
              <a:t>Минск</a:t>
            </a:r>
            <a:endParaRPr lang="en-US" sz="1200" b="1" dirty="0">
              <a:cs typeface="Arial" pitchFamily="34" charset="0"/>
            </a:endParaRPr>
          </a:p>
        </p:txBody>
      </p:sp>
      <p:sp>
        <p:nvSpPr>
          <p:cNvPr id="107" name="Прямоугольник 106"/>
          <p:cNvSpPr/>
          <p:nvPr/>
        </p:nvSpPr>
        <p:spPr>
          <a:xfrm>
            <a:off x="3241255" y="4879194"/>
            <a:ext cx="809004" cy="276999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200" b="1" dirty="0" err="1" smtClean="0">
                <a:cs typeface="Arial" pitchFamily="34" charset="0"/>
              </a:rPr>
              <a:t>Шимкент</a:t>
            </a:r>
            <a:endParaRPr lang="en-US" sz="1200" b="1" dirty="0">
              <a:cs typeface="Arial" pitchFamily="34" charset="0"/>
            </a:endParaRPr>
          </a:p>
        </p:txBody>
      </p:sp>
      <p:sp>
        <p:nvSpPr>
          <p:cNvPr id="112" name="Прямоугольник 111"/>
          <p:cNvSpPr/>
          <p:nvPr/>
        </p:nvSpPr>
        <p:spPr>
          <a:xfrm>
            <a:off x="4377986" y="5072115"/>
            <a:ext cx="1058110" cy="276999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200" b="1" dirty="0" err="1" smtClean="0">
                <a:cs typeface="Arial" pitchFamily="34" charset="0"/>
              </a:rPr>
              <a:t>Талдыкорган</a:t>
            </a:r>
            <a:endParaRPr lang="en-US" sz="1200" b="1" dirty="0">
              <a:cs typeface="Arial" pitchFamily="34" charset="0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1987014" y="3773175"/>
            <a:ext cx="558038" cy="276999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200" b="1" dirty="0" smtClean="0">
                <a:cs typeface="Arial" pitchFamily="34" charset="0"/>
              </a:rPr>
              <a:t>Актау</a:t>
            </a:r>
            <a:endParaRPr lang="en-US" sz="1200" b="1" dirty="0">
              <a:cs typeface="Arial" pitchFamily="34" charset="0"/>
            </a:endParaRPr>
          </a:p>
        </p:txBody>
      </p:sp>
      <p:sp>
        <p:nvSpPr>
          <p:cNvPr id="27" name="Стрелка вниз 26"/>
          <p:cNvSpPr/>
          <p:nvPr/>
        </p:nvSpPr>
        <p:spPr>
          <a:xfrm rot="1190871">
            <a:off x="4409590" y="2421753"/>
            <a:ext cx="431515" cy="2497763"/>
          </a:xfrm>
          <a:prstGeom prst="downArrow">
            <a:avLst>
              <a:gd name="adj1" fmla="val 35895"/>
              <a:gd name="adj2" fmla="val 77836"/>
            </a:avLst>
          </a:prstGeom>
          <a:solidFill>
            <a:schemeClr val="accent1">
              <a:alpha val="4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3" name="Прямоугольник 122"/>
          <p:cNvSpPr/>
          <p:nvPr/>
        </p:nvSpPr>
        <p:spPr>
          <a:xfrm>
            <a:off x="3530303" y="3188874"/>
            <a:ext cx="893899" cy="276999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200" b="1" dirty="0" smtClean="0">
                <a:cs typeface="Arial" pitchFamily="34" charset="0"/>
              </a:rPr>
              <a:t>Челябинск</a:t>
            </a:r>
            <a:endParaRPr lang="en-US" sz="1200" b="1" dirty="0">
              <a:cs typeface="Arial" pitchFamily="34" charset="0"/>
            </a:endParaRPr>
          </a:p>
        </p:txBody>
      </p:sp>
      <p:cxnSp>
        <p:nvCxnSpPr>
          <p:cNvPr id="126" name="Прямая соединительная линия 125"/>
          <p:cNvCxnSpPr>
            <a:stCxn id="196" idx="7"/>
          </p:cNvCxnSpPr>
          <p:nvPr/>
        </p:nvCxnSpPr>
        <p:spPr>
          <a:xfrm flipV="1">
            <a:off x="3360812" y="3668320"/>
            <a:ext cx="1833933" cy="1554486"/>
          </a:xfrm>
          <a:prstGeom prst="line">
            <a:avLst/>
          </a:prstGeom>
          <a:ln>
            <a:solidFill>
              <a:srgbClr val="4555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Oval 52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5901729" y="3548914"/>
            <a:ext cx="76846" cy="77677"/>
          </a:xfrm>
          <a:prstGeom prst="ellipse">
            <a:avLst/>
          </a:prstGeom>
          <a:solidFill>
            <a:srgbClr val="92D050"/>
          </a:solidFill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129" name="Прямоугольник 128"/>
          <p:cNvSpPr/>
          <p:nvPr/>
        </p:nvSpPr>
        <p:spPr>
          <a:xfrm>
            <a:off x="5618811" y="3194390"/>
            <a:ext cx="960520" cy="276999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200" b="1" dirty="0" smtClean="0">
                <a:cs typeface="Arial" pitchFamily="34" charset="0"/>
              </a:rPr>
              <a:t>Красноярск</a:t>
            </a:r>
            <a:endParaRPr lang="en-US" sz="1200" b="1" dirty="0">
              <a:cs typeface="Arial" pitchFamily="34" charset="0"/>
            </a:endParaRPr>
          </a:p>
        </p:txBody>
      </p:sp>
      <p:sp>
        <p:nvSpPr>
          <p:cNvPr id="130" name="Oval 52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748464" y="4099795"/>
            <a:ext cx="76846" cy="77677"/>
          </a:xfrm>
          <a:prstGeom prst="ellipse">
            <a:avLst/>
          </a:prstGeom>
          <a:solidFill>
            <a:srgbClr val="92D050"/>
          </a:solidFill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cxnSp>
        <p:nvCxnSpPr>
          <p:cNvPr id="131" name="Прямая соединительная линия 130"/>
          <p:cNvCxnSpPr>
            <a:stCxn id="196" idx="6"/>
            <a:endCxn id="130" idx="2"/>
          </p:cNvCxnSpPr>
          <p:nvPr/>
        </p:nvCxnSpPr>
        <p:spPr>
          <a:xfrm flipV="1">
            <a:off x="3378698" y="4138634"/>
            <a:ext cx="5369766" cy="1125257"/>
          </a:xfrm>
          <a:prstGeom prst="line">
            <a:avLst/>
          </a:prstGeom>
          <a:ln>
            <a:solidFill>
              <a:srgbClr val="4555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Прямоугольник 134"/>
          <p:cNvSpPr/>
          <p:nvPr/>
        </p:nvSpPr>
        <p:spPr>
          <a:xfrm>
            <a:off x="8139443" y="3789340"/>
            <a:ext cx="882421" cy="276999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200" b="1" dirty="0" smtClean="0">
                <a:cs typeface="Arial" pitchFamily="34" charset="0"/>
              </a:rPr>
              <a:t>Хабаровск</a:t>
            </a:r>
            <a:endParaRPr lang="en-US" sz="1200" b="1" dirty="0">
              <a:cs typeface="Arial" pitchFamily="34" charset="0"/>
            </a:endParaRPr>
          </a:p>
        </p:txBody>
      </p:sp>
      <p:sp>
        <p:nvSpPr>
          <p:cNvPr id="137" name="Прямоугольник 136"/>
          <p:cNvSpPr/>
          <p:nvPr/>
        </p:nvSpPr>
        <p:spPr>
          <a:xfrm>
            <a:off x="3072973" y="1471920"/>
            <a:ext cx="1010726" cy="276999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200" b="1" dirty="0" smtClean="0">
                <a:cs typeface="Arial" pitchFamily="34" charset="0"/>
              </a:rPr>
              <a:t>Архангельск</a:t>
            </a:r>
            <a:endParaRPr lang="en-US" sz="1200" b="1" dirty="0">
              <a:cs typeface="Arial" pitchFamily="34" charset="0"/>
            </a:endParaRPr>
          </a:p>
        </p:txBody>
      </p:sp>
      <p:sp>
        <p:nvSpPr>
          <p:cNvPr id="145" name="Прямоугольник 144"/>
          <p:cNvSpPr/>
          <p:nvPr/>
        </p:nvSpPr>
        <p:spPr>
          <a:xfrm>
            <a:off x="2050621" y="1007683"/>
            <a:ext cx="1036117" cy="276999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200" b="1" dirty="0" smtClean="0">
                <a:cs typeface="Arial" pitchFamily="34" charset="0"/>
              </a:rPr>
              <a:t>С.-Петербург</a:t>
            </a:r>
            <a:endParaRPr lang="en-US" sz="1200" b="1" dirty="0">
              <a:cs typeface="Arial" pitchFamily="34" charset="0"/>
            </a:endParaRPr>
          </a:p>
        </p:txBody>
      </p:sp>
      <p:sp>
        <p:nvSpPr>
          <p:cNvPr id="146" name="Прямоугольник 145"/>
          <p:cNvSpPr/>
          <p:nvPr/>
        </p:nvSpPr>
        <p:spPr>
          <a:xfrm>
            <a:off x="3923928" y="2806744"/>
            <a:ext cx="713530" cy="276999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200" b="1" dirty="0" smtClean="0">
                <a:cs typeface="Arial" pitchFamily="34" charset="0"/>
              </a:rPr>
              <a:t>Тюмень</a:t>
            </a:r>
            <a:endParaRPr lang="en-US" sz="1200" b="1" dirty="0">
              <a:cs typeface="Arial" pitchFamily="34" charset="0"/>
            </a:endParaRPr>
          </a:p>
        </p:txBody>
      </p:sp>
      <p:sp>
        <p:nvSpPr>
          <p:cNvPr id="149" name="Прямоугольник 148"/>
          <p:cNvSpPr/>
          <p:nvPr/>
        </p:nvSpPr>
        <p:spPr>
          <a:xfrm>
            <a:off x="2085898" y="2820415"/>
            <a:ext cx="1172117" cy="276999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200" b="1" dirty="0" smtClean="0">
                <a:cs typeface="Arial" pitchFamily="34" charset="0"/>
              </a:rPr>
              <a:t>Димитровград</a:t>
            </a:r>
            <a:endParaRPr lang="en-US" sz="1200" b="1" dirty="0">
              <a:cs typeface="Arial" pitchFamily="34" charset="0"/>
            </a:endParaRPr>
          </a:p>
        </p:txBody>
      </p:sp>
      <p:sp>
        <p:nvSpPr>
          <p:cNvPr id="150" name="Прямоугольник 149"/>
          <p:cNvSpPr/>
          <p:nvPr/>
        </p:nvSpPr>
        <p:spPr>
          <a:xfrm>
            <a:off x="2661576" y="2603442"/>
            <a:ext cx="645947" cy="276999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200" b="1" dirty="0" smtClean="0">
                <a:cs typeface="Arial" pitchFamily="34" charset="0"/>
              </a:rPr>
              <a:t>Казань</a:t>
            </a:r>
            <a:endParaRPr lang="en-US" sz="1200" b="1" dirty="0">
              <a:cs typeface="Arial" pitchFamily="34" charset="0"/>
            </a:endParaRPr>
          </a:p>
        </p:txBody>
      </p:sp>
      <p:sp>
        <p:nvSpPr>
          <p:cNvPr id="151" name="Прямоугольник 150"/>
          <p:cNvSpPr/>
          <p:nvPr/>
        </p:nvSpPr>
        <p:spPr>
          <a:xfrm>
            <a:off x="2556539" y="2021889"/>
            <a:ext cx="1005019" cy="276999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200" b="1" dirty="0" smtClean="0">
                <a:cs typeface="Arial" pitchFamily="34" charset="0"/>
              </a:rPr>
              <a:t>Н. Новгород</a:t>
            </a:r>
            <a:endParaRPr lang="en-US" sz="1200" b="1" dirty="0">
              <a:cs typeface="Arial" pitchFamily="34" charset="0"/>
            </a:endParaRPr>
          </a:p>
        </p:txBody>
      </p:sp>
      <p:sp>
        <p:nvSpPr>
          <p:cNvPr id="274" name="Заголовок 1"/>
          <p:cNvSpPr txBox="1">
            <a:spLocks/>
          </p:cNvSpPr>
          <p:nvPr/>
        </p:nvSpPr>
        <p:spPr>
          <a:xfrm>
            <a:off x="542736" y="116632"/>
            <a:ext cx="8424936" cy="864096"/>
          </a:xfrm>
          <a:prstGeom prst="rect">
            <a:avLst/>
          </a:prstGeom>
        </p:spPr>
        <p:txBody>
          <a:bodyPr rtlCol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9pPr>
          </a:lstStyle>
          <a:p>
            <a:pPr algn="r" fontAlgn="auto">
              <a:spcAft>
                <a:spcPts val="600"/>
              </a:spcAft>
              <a:defRPr/>
            </a:pPr>
            <a:r>
              <a:rPr lang="ru-RU" sz="2400" b="1" dirty="0" smtClean="0">
                <a:solidFill>
                  <a:srgbClr val="002060"/>
                </a:solidFill>
                <a:effectLst/>
              </a:rPr>
              <a:t>РАЗМЕЩЕНИЕ ПРОИЗВОДСТВЕННОЙ ПЛОЩАДКИ</a:t>
            </a:r>
          </a:p>
          <a:p>
            <a:pPr algn="r" fontAlgn="auto">
              <a:spcAft>
                <a:spcPts val="600"/>
              </a:spcAft>
              <a:defRPr/>
            </a:pPr>
            <a:r>
              <a:rPr lang="ru-RU" sz="2400" b="1" dirty="0" smtClean="0">
                <a:solidFill>
                  <a:srgbClr val="002060"/>
                </a:solidFill>
                <a:effectLst/>
              </a:rPr>
              <a:t>Логистика </a:t>
            </a:r>
            <a:endParaRPr lang="ru-RU" sz="2400" b="1" dirty="0">
              <a:solidFill>
                <a:srgbClr val="002060"/>
              </a:solidFill>
              <a:effectLst/>
            </a:endParaRPr>
          </a:p>
        </p:txBody>
      </p:sp>
      <p:sp>
        <p:nvSpPr>
          <p:cNvPr id="254" name="TextBox 253"/>
          <p:cNvSpPr txBox="1"/>
          <p:nvPr/>
        </p:nvSpPr>
        <p:spPr>
          <a:xfrm>
            <a:off x="618090" y="548680"/>
            <a:ext cx="23467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>
                <a:solidFill>
                  <a:srgbClr val="455560"/>
                </a:solidFill>
                <a:cs typeface="Arial" pitchFamily="34" charset="0"/>
              </a:rPr>
              <a:t>- действующие потребители</a:t>
            </a:r>
            <a:endParaRPr lang="ru-RU" sz="1400" dirty="0">
              <a:solidFill>
                <a:srgbClr val="455560"/>
              </a:solidFill>
              <a:cs typeface="Arial" pitchFamily="34" charset="0"/>
            </a:endParaRPr>
          </a:p>
        </p:txBody>
      </p:sp>
      <p:sp>
        <p:nvSpPr>
          <p:cNvPr id="255" name="Oval 1202"/>
          <p:cNvSpPr>
            <a:spLocks noChangeArrowheads="1"/>
          </p:cNvSpPr>
          <p:nvPr/>
        </p:nvSpPr>
        <p:spPr bwMode="auto">
          <a:xfrm>
            <a:off x="3220104" y="620695"/>
            <a:ext cx="205219" cy="210500"/>
          </a:xfrm>
          <a:prstGeom prst="ellipse">
            <a:avLst/>
          </a:prstGeom>
          <a:solidFill>
            <a:srgbClr val="FFC000"/>
          </a:solidFill>
          <a:ln w="1270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56" name="TextBox 255"/>
          <p:cNvSpPr txBox="1"/>
          <p:nvPr/>
        </p:nvSpPr>
        <p:spPr>
          <a:xfrm>
            <a:off x="3367972" y="554196"/>
            <a:ext cx="25001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>
                <a:solidFill>
                  <a:srgbClr val="455560"/>
                </a:solidFill>
                <a:cs typeface="Arial" pitchFamily="34" charset="0"/>
              </a:rPr>
              <a:t>- потенциальные потребители</a:t>
            </a:r>
            <a:endParaRPr lang="ru-RU" sz="1400" dirty="0">
              <a:solidFill>
                <a:srgbClr val="455560"/>
              </a:solidFill>
              <a:cs typeface="Arial" pitchFamily="34" charset="0"/>
            </a:endParaRPr>
          </a:p>
        </p:txBody>
      </p:sp>
      <p:sp>
        <p:nvSpPr>
          <p:cNvPr id="155" name="Прямоугольник 154"/>
          <p:cNvSpPr/>
          <p:nvPr/>
        </p:nvSpPr>
        <p:spPr>
          <a:xfrm>
            <a:off x="1800200" y="6309320"/>
            <a:ext cx="4572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lvl="1"/>
            <a:r>
              <a:rPr lang="ru-RU" sz="2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ериод полураспада </a:t>
            </a:r>
            <a:r>
              <a:rPr lang="en-US" sz="2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Y-90 – 64 </a:t>
            </a:r>
            <a:r>
              <a:rPr lang="ru-RU" sz="2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часа</a:t>
            </a:r>
            <a:endParaRPr lang="en-US" sz="20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2" name="Oval 1202"/>
          <p:cNvSpPr>
            <a:spLocks noChangeArrowheads="1"/>
          </p:cNvSpPr>
          <p:nvPr/>
        </p:nvSpPr>
        <p:spPr bwMode="auto">
          <a:xfrm>
            <a:off x="462312" y="614621"/>
            <a:ext cx="207413" cy="207641"/>
          </a:xfrm>
          <a:prstGeom prst="ellipse">
            <a:avLst/>
          </a:prstGeom>
          <a:solidFill>
            <a:srgbClr val="92D050"/>
          </a:solidFill>
          <a:ln w="1270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63" name="Oval 52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293654" y="3889001"/>
            <a:ext cx="76846" cy="77677"/>
          </a:xfrm>
          <a:prstGeom prst="ellipse">
            <a:avLst/>
          </a:prstGeom>
          <a:solidFill>
            <a:srgbClr val="FFC000"/>
          </a:solidFill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169" name="Oval 52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691680" y="4230155"/>
            <a:ext cx="76846" cy="77677"/>
          </a:xfrm>
          <a:prstGeom prst="ellipse">
            <a:avLst/>
          </a:prstGeom>
          <a:solidFill>
            <a:srgbClr val="FFC000"/>
          </a:solidFill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178" name="Oval 52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746487" y="4089014"/>
            <a:ext cx="76846" cy="77677"/>
          </a:xfrm>
          <a:prstGeom prst="ellipse">
            <a:avLst/>
          </a:prstGeom>
          <a:solidFill>
            <a:srgbClr val="FFC000"/>
          </a:solidFill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cxnSp>
        <p:nvCxnSpPr>
          <p:cNvPr id="238" name="Прямая соединительная линия 237"/>
          <p:cNvCxnSpPr>
            <a:stCxn id="196" idx="2"/>
            <a:endCxn id="192" idx="5"/>
          </p:cNvCxnSpPr>
          <p:nvPr/>
        </p:nvCxnSpPr>
        <p:spPr>
          <a:xfrm flipV="1">
            <a:off x="3256562" y="5175715"/>
            <a:ext cx="1123206" cy="88176"/>
          </a:xfrm>
          <a:prstGeom prst="line">
            <a:avLst/>
          </a:prstGeom>
          <a:ln>
            <a:solidFill>
              <a:srgbClr val="4555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Oval 52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4314176" y="5109414"/>
            <a:ext cx="76846" cy="77677"/>
          </a:xfrm>
          <a:prstGeom prst="ellipse">
            <a:avLst/>
          </a:prstGeom>
          <a:solidFill>
            <a:srgbClr val="FFC000"/>
          </a:solidFill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141" name="Oval 52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2030991" y="4050175"/>
            <a:ext cx="76846" cy="77677"/>
          </a:xfrm>
          <a:prstGeom prst="ellipse">
            <a:avLst/>
          </a:prstGeom>
          <a:solidFill>
            <a:srgbClr val="FFC000"/>
          </a:solidFill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5023185" y="1810273"/>
            <a:ext cx="3312368" cy="682623"/>
          </a:xfrm>
          <a:prstGeom prst="roundRect">
            <a:avLst/>
          </a:prstGeom>
          <a:solidFill>
            <a:schemeClr val="accent1">
              <a:alpha val="3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003399"/>
                </a:solidFill>
              </a:rPr>
              <a:t>Сырьё </a:t>
            </a:r>
            <a:r>
              <a:rPr lang="en-US" sz="1400" b="1" dirty="0">
                <a:solidFill>
                  <a:srgbClr val="003399"/>
                </a:solidFill>
              </a:rPr>
              <a:t>Sr-90</a:t>
            </a:r>
            <a:r>
              <a:rPr lang="ru-RU" sz="1400" b="1" dirty="0">
                <a:solidFill>
                  <a:srgbClr val="003399"/>
                </a:solidFill>
              </a:rPr>
              <a:t> – </a:t>
            </a:r>
            <a:r>
              <a:rPr lang="en-US" sz="1400" b="1" dirty="0">
                <a:solidFill>
                  <a:srgbClr val="003399"/>
                </a:solidFill>
              </a:rPr>
              <a:t> </a:t>
            </a:r>
            <a:r>
              <a:rPr lang="ru-RU" sz="1400" b="1" dirty="0">
                <a:solidFill>
                  <a:srgbClr val="003399"/>
                </a:solidFill>
              </a:rPr>
              <a:t>НИИАР, ФЭИ, НИФХИ</a:t>
            </a:r>
          </a:p>
          <a:p>
            <a:pPr algn="ctr"/>
            <a:r>
              <a:rPr lang="ru-RU" sz="1400" b="1" dirty="0">
                <a:solidFill>
                  <a:srgbClr val="003399"/>
                </a:solidFill>
              </a:rPr>
              <a:t>Генератор, технология – ФЭИ</a:t>
            </a:r>
          </a:p>
        </p:txBody>
      </p:sp>
      <p:sp>
        <p:nvSpPr>
          <p:cNvPr id="83" name="Стрелка вниз 82"/>
          <p:cNvSpPr/>
          <p:nvPr/>
        </p:nvSpPr>
        <p:spPr>
          <a:xfrm rot="5123213">
            <a:off x="3545276" y="804690"/>
            <a:ext cx="431515" cy="2533311"/>
          </a:xfrm>
          <a:prstGeom prst="downArrow">
            <a:avLst>
              <a:gd name="adj1" fmla="val 35895"/>
              <a:gd name="adj2" fmla="val 77836"/>
            </a:avLst>
          </a:prstGeom>
          <a:solidFill>
            <a:schemeClr val="accent1">
              <a:alpha val="4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2" name="Oval 52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4055177" y="5040404"/>
            <a:ext cx="76846" cy="77677"/>
          </a:xfrm>
          <a:prstGeom prst="ellipse">
            <a:avLst/>
          </a:prstGeom>
          <a:solidFill>
            <a:srgbClr val="FFC000"/>
          </a:solidFill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cxnSp>
        <p:nvCxnSpPr>
          <p:cNvPr id="93" name="Прямая соединительная линия 92"/>
          <p:cNvCxnSpPr>
            <a:endCxn id="92" idx="3"/>
          </p:cNvCxnSpPr>
          <p:nvPr/>
        </p:nvCxnSpPr>
        <p:spPr>
          <a:xfrm flipV="1">
            <a:off x="3312897" y="5106705"/>
            <a:ext cx="753534" cy="168240"/>
          </a:xfrm>
          <a:prstGeom prst="line">
            <a:avLst/>
          </a:prstGeom>
          <a:ln>
            <a:solidFill>
              <a:srgbClr val="4555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6" name="Oval 1202"/>
          <p:cNvSpPr>
            <a:spLocks noChangeArrowheads="1"/>
          </p:cNvSpPr>
          <p:nvPr/>
        </p:nvSpPr>
        <p:spPr bwMode="auto">
          <a:xfrm>
            <a:off x="3256562" y="5205788"/>
            <a:ext cx="122136" cy="116205"/>
          </a:xfrm>
          <a:prstGeom prst="ellipse">
            <a:avLst/>
          </a:prstGeom>
          <a:solidFill>
            <a:srgbClr val="C00000"/>
          </a:solidFill>
          <a:ln w="1270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60" name="Oval 52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438794" y="5147376"/>
            <a:ext cx="76846" cy="77677"/>
          </a:xfrm>
          <a:prstGeom prst="ellipse">
            <a:avLst/>
          </a:prstGeom>
          <a:solidFill>
            <a:srgbClr val="FFC000"/>
          </a:solidFill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165" name="Oval 52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3815221" y="5254849"/>
            <a:ext cx="76846" cy="77677"/>
          </a:xfrm>
          <a:prstGeom prst="ellipse">
            <a:avLst/>
          </a:prstGeom>
          <a:solidFill>
            <a:srgbClr val="FFC000"/>
          </a:solidFill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48490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179512" y="188640"/>
            <a:ext cx="8424936" cy="576064"/>
          </a:xfrm>
          <a:prstGeom prst="rect">
            <a:avLst/>
          </a:prstGeom>
        </p:spPr>
        <p:txBody>
          <a:bodyPr rtlCol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9pPr>
          </a:lstStyle>
          <a:p>
            <a:pPr fontAlgn="auto">
              <a:spcAft>
                <a:spcPts val="600"/>
              </a:spcAft>
              <a:defRPr/>
            </a:pPr>
            <a:r>
              <a:rPr lang="ru-RU" sz="2400" b="1" dirty="0">
                <a:solidFill>
                  <a:srgbClr val="002060"/>
                </a:solidFill>
                <a:effectLst/>
              </a:rPr>
              <a:t>НОМЕНКЛАТУРА ПРОДУКЦИИ С </a:t>
            </a:r>
            <a:r>
              <a:rPr lang="en-US" sz="2400" b="1" dirty="0">
                <a:solidFill>
                  <a:srgbClr val="002060"/>
                </a:solidFill>
                <a:effectLst/>
              </a:rPr>
              <a:t>Y</a:t>
            </a:r>
            <a:r>
              <a:rPr lang="ru-RU" sz="2400" b="1" dirty="0">
                <a:solidFill>
                  <a:srgbClr val="002060"/>
                </a:solidFill>
                <a:effectLst/>
              </a:rPr>
              <a:t>-90</a:t>
            </a:r>
          </a:p>
          <a:p>
            <a:pPr algn="r" fontAlgn="auto">
              <a:spcAft>
                <a:spcPts val="600"/>
              </a:spcAft>
              <a:defRPr/>
            </a:pPr>
            <a:endParaRPr lang="ru-RU" sz="2400" b="1" dirty="0">
              <a:solidFill>
                <a:srgbClr val="002060"/>
              </a:solidFill>
              <a:effectLst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8343321"/>
              </p:ext>
            </p:extLst>
          </p:nvPr>
        </p:nvGraphicFramePr>
        <p:xfrm>
          <a:off x="0" y="750396"/>
          <a:ext cx="9141469" cy="60629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6341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00432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872208"/>
                <a:gridCol w="144016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356135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ru-RU" sz="1250" dirty="0">
                        <a:solidFill>
                          <a:srgbClr val="C00000"/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50" dirty="0">
                          <a:latin typeface="+mj-lt"/>
                        </a:rPr>
                        <a:t>ПРЕПАРАТ</a:t>
                      </a:r>
                      <a:endParaRPr lang="ru-RU" sz="1250" b="1" dirty="0">
                        <a:solidFill>
                          <a:srgbClr val="C00000"/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50" b="1" kern="1200" dirty="0" smtClean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КАТЕГОРИЯ</a:t>
                      </a:r>
                      <a:endParaRPr lang="ru-RU" sz="1250" b="1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50" dirty="0">
                          <a:latin typeface="+mj-lt"/>
                        </a:rPr>
                        <a:t>НАЗНАЧЕНИЕ</a:t>
                      </a:r>
                      <a:endParaRPr lang="ru-RU" sz="1250" dirty="0">
                        <a:solidFill>
                          <a:srgbClr val="C00000"/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50" dirty="0">
                          <a:latin typeface="+mj-lt"/>
                        </a:rPr>
                        <a:t>ПРИМЕЧАНИЯ</a:t>
                      </a:r>
                      <a:endParaRPr lang="ru-RU" sz="1250" dirty="0">
                        <a:solidFill>
                          <a:srgbClr val="C00000"/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25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j-lt"/>
                        </a:rPr>
                        <a:t>1</a:t>
                      </a:r>
                      <a:endParaRPr lang="ru-RU" sz="1250" dirty="0">
                        <a:solidFill>
                          <a:schemeClr val="bg2">
                            <a:lumMod val="25000"/>
                          </a:schemeClr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Фармацевтическая субстанция на основе </a:t>
                      </a:r>
                      <a:r>
                        <a:rPr lang="en-US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Y</a:t>
                      </a:r>
                      <a:r>
                        <a:rPr lang="ru-RU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-90</a:t>
                      </a:r>
                      <a:endParaRPr lang="ru-RU" sz="1250" b="1" dirty="0">
                        <a:solidFill>
                          <a:schemeClr val="bg2">
                            <a:lumMod val="25000"/>
                          </a:schemeClr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50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зотоп – не используется напрямую для терапии</a:t>
                      </a:r>
                    </a:p>
                    <a:p>
                      <a:endParaRPr lang="ru-RU" sz="1250" b="0" dirty="0">
                        <a:solidFill>
                          <a:schemeClr val="bg2">
                            <a:lumMod val="25000"/>
                          </a:schemeClr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5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j-lt"/>
                        </a:rPr>
                        <a:t>Приготовление РФП</a:t>
                      </a:r>
                      <a:r>
                        <a:rPr lang="en-US" sz="1250" baseline="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ru-RU" sz="1250" baseline="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j-lt"/>
                        </a:rPr>
                        <a:t>и МИ</a:t>
                      </a:r>
                      <a:endParaRPr lang="ru-RU" sz="1250" b="0" dirty="0">
                        <a:solidFill>
                          <a:schemeClr val="bg2">
                            <a:lumMod val="25000"/>
                          </a:schemeClr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50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Изотоп – не используется напрямую для терапии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50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«</a:t>
                      </a:r>
                      <a:r>
                        <a:rPr lang="ru-RU" sz="1250" kern="1200" baseline="30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90</a:t>
                      </a:r>
                      <a:r>
                        <a:rPr lang="en-US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Y</a:t>
                      </a:r>
                      <a:r>
                        <a:rPr lang="ru-RU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- хлорид», стерилен, </a:t>
                      </a:r>
                      <a:r>
                        <a:rPr lang="ru-RU" sz="1250" kern="12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апирогенен</a:t>
                      </a:r>
                      <a:r>
                        <a:rPr lang="ru-RU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. Показатели качества в соответствии с Европейской фармакопеей</a:t>
                      </a:r>
                      <a:endParaRPr lang="ru-RU" sz="1250" b="0" dirty="0">
                        <a:solidFill>
                          <a:schemeClr val="bg2">
                            <a:lumMod val="25000"/>
                          </a:schemeClr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25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j-lt"/>
                        </a:rPr>
                        <a:t>2</a:t>
                      </a:r>
                      <a:endParaRPr lang="ru-RU" sz="1250" dirty="0">
                        <a:solidFill>
                          <a:schemeClr val="bg2">
                            <a:lumMod val="25000"/>
                          </a:schemeClr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Препарат на основе </a:t>
                      </a:r>
                      <a:r>
                        <a:rPr lang="ru-RU" sz="1250" kern="12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моноклональных</a:t>
                      </a:r>
                      <a:r>
                        <a:rPr lang="ru-RU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 антител </a:t>
                      </a:r>
                      <a:endParaRPr lang="ru-RU" sz="1250" b="1" dirty="0">
                        <a:solidFill>
                          <a:schemeClr val="bg2">
                            <a:lumMod val="25000"/>
                          </a:schemeClr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50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ФП (лекарственное средство)</a:t>
                      </a:r>
                      <a:r>
                        <a:rPr lang="ru-RU" sz="1250" kern="1200" baseline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50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 прямое использование для терапии</a:t>
                      </a:r>
                      <a:endParaRPr lang="ru-RU" sz="1250" b="0" dirty="0">
                        <a:solidFill>
                          <a:schemeClr val="bg2">
                            <a:lumMod val="25000"/>
                          </a:schemeClr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Лечение</a:t>
                      </a:r>
                      <a:r>
                        <a:rPr lang="ru-RU" sz="1250" kern="1200" baseline="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250" kern="12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неходжкинских</a:t>
                      </a:r>
                      <a:r>
                        <a:rPr lang="ru-RU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250" kern="12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лимфом</a:t>
                      </a:r>
                      <a:endParaRPr lang="ru-RU" sz="1250" b="0" dirty="0">
                        <a:solidFill>
                          <a:schemeClr val="bg2">
                            <a:lumMod val="25000"/>
                          </a:schemeClr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50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Аналог </a:t>
                      </a:r>
                      <a:r>
                        <a:rPr lang="ru-RU" sz="1250" kern="1200" baseline="30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90</a:t>
                      </a:r>
                      <a:r>
                        <a:rPr lang="en-US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Y</a:t>
                      </a:r>
                      <a:r>
                        <a:rPr lang="ru-RU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-</a:t>
                      </a:r>
                      <a:r>
                        <a:rPr lang="en-US" sz="1250" kern="12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Zevalin</a:t>
                      </a:r>
                      <a:endParaRPr lang="ru-RU" sz="1250" b="0" dirty="0">
                        <a:solidFill>
                          <a:schemeClr val="bg2">
                            <a:lumMod val="25000"/>
                          </a:schemeClr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25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j-lt"/>
                        </a:rPr>
                        <a:t>3</a:t>
                      </a:r>
                      <a:endParaRPr lang="ru-RU" sz="1250" dirty="0">
                        <a:solidFill>
                          <a:schemeClr val="bg2">
                            <a:lumMod val="25000"/>
                          </a:schemeClr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Препарат на основе синтетического пептидного аналога </a:t>
                      </a:r>
                      <a:r>
                        <a:rPr lang="ru-RU" sz="1250" kern="12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соматостатина</a:t>
                      </a:r>
                      <a:r>
                        <a:rPr lang="ru-RU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ru-RU" sz="1250" kern="12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октреотида</a:t>
                      </a:r>
                      <a:r>
                        <a:rPr lang="ru-RU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). </a:t>
                      </a:r>
                      <a:endParaRPr lang="ru-RU" sz="1250" b="1" dirty="0">
                        <a:solidFill>
                          <a:schemeClr val="bg2">
                            <a:lumMod val="25000"/>
                          </a:schemeClr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50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ФП (лекарственное средство)</a:t>
                      </a:r>
                      <a:r>
                        <a:rPr lang="ru-RU" sz="1250" kern="1200" baseline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50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 прямое использование для терапии</a:t>
                      </a:r>
                      <a:endParaRPr lang="ru-RU" sz="1250" b="0" dirty="0">
                        <a:solidFill>
                          <a:schemeClr val="bg2">
                            <a:lumMod val="25000"/>
                          </a:schemeClr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5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j-lt"/>
                        </a:rPr>
                        <a:t>Лечение опухолей нейроэндокринного происхождения</a:t>
                      </a:r>
                      <a:endParaRPr lang="ru-RU" sz="1250" b="0" dirty="0">
                        <a:solidFill>
                          <a:schemeClr val="bg2">
                            <a:lumMod val="25000"/>
                          </a:schemeClr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Аналог </a:t>
                      </a:r>
                      <a:r>
                        <a:rPr lang="en-US" sz="1250" kern="1200" baseline="30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90</a:t>
                      </a:r>
                      <a:r>
                        <a:rPr lang="en-US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Y-DOTATATE (DOTATOC, DOTANOC, </a:t>
                      </a:r>
                      <a:r>
                        <a:rPr lang="ru-RU" sz="1250" kern="12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Октреотид</a:t>
                      </a:r>
                      <a:r>
                        <a:rPr lang="ru-RU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)</a:t>
                      </a:r>
                      <a:endParaRPr lang="ru-RU" sz="1250" b="0" dirty="0">
                        <a:solidFill>
                          <a:schemeClr val="bg2">
                            <a:lumMod val="25000"/>
                          </a:schemeClr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25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j-lt"/>
                        </a:rPr>
                        <a:t>4</a:t>
                      </a:r>
                      <a:endParaRPr lang="ru-RU" sz="1250" dirty="0">
                        <a:solidFill>
                          <a:schemeClr val="bg2">
                            <a:lumMod val="25000"/>
                          </a:schemeClr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Полимерные микросферы на основе генераторного Y-90 </a:t>
                      </a:r>
                      <a:endParaRPr lang="ru-RU" sz="1250" b="1" dirty="0">
                        <a:solidFill>
                          <a:schemeClr val="bg2">
                            <a:lumMod val="25000"/>
                          </a:schemeClr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50" kern="1200" dirty="0" err="1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икроисточники</a:t>
                      </a:r>
                      <a:r>
                        <a:rPr lang="ru-RU" sz="1250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ru-RU" sz="1250" kern="1200" dirty="0" err="1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едизделие</a:t>
                      </a:r>
                      <a:r>
                        <a:rPr lang="ru-RU" sz="1250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r>
                        <a:rPr lang="ru-RU" sz="1250" kern="1200" baseline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50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 прямое использование для терапии</a:t>
                      </a:r>
                      <a:endParaRPr lang="ru-RU" sz="1250" b="0" dirty="0">
                        <a:solidFill>
                          <a:schemeClr val="bg2">
                            <a:lumMod val="25000"/>
                          </a:schemeClr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Лечение рака печени</a:t>
                      </a:r>
                      <a:endParaRPr lang="ru-RU" sz="1250" b="0" dirty="0">
                        <a:solidFill>
                          <a:schemeClr val="bg2">
                            <a:lumMod val="25000"/>
                          </a:schemeClr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Аналог SIR-</a:t>
                      </a:r>
                      <a:r>
                        <a:rPr lang="ru-RU" sz="1250" kern="12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Sphere</a:t>
                      </a:r>
                      <a:endParaRPr lang="ru-RU" sz="1250" b="0" dirty="0">
                        <a:solidFill>
                          <a:schemeClr val="bg2">
                            <a:lumMod val="25000"/>
                          </a:schemeClr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25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j-lt"/>
                        </a:rPr>
                        <a:t>5</a:t>
                      </a:r>
                      <a:endParaRPr lang="ru-RU" sz="1250" dirty="0">
                        <a:solidFill>
                          <a:schemeClr val="bg2">
                            <a:lumMod val="25000"/>
                          </a:schemeClr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Y</a:t>
                      </a:r>
                      <a:r>
                        <a:rPr lang="ru-RU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-90 коллоид </a:t>
                      </a:r>
                      <a:endParaRPr lang="ru-RU" sz="1250" b="1" dirty="0">
                        <a:solidFill>
                          <a:schemeClr val="bg2">
                            <a:lumMod val="25000"/>
                          </a:schemeClr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50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ФП (лекарственное средство)</a:t>
                      </a:r>
                      <a:r>
                        <a:rPr lang="ru-RU" sz="1250" kern="1200" baseline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50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 прямое использование для терапии</a:t>
                      </a:r>
                      <a:endParaRPr lang="ru-RU" sz="1250" b="0" dirty="0">
                        <a:solidFill>
                          <a:schemeClr val="bg2">
                            <a:lumMod val="25000"/>
                          </a:schemeClr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50" kern="12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Радиосиновэктомия</a:t>
                      </a:r>
                      <a:endParaRPr lang="ru-RU" sz="1250" b="0" dirty="0">
                        <a:solidFill>
                          <a:schemeClr val="bg2">
                            <a:lumMod val="25000"/>
                          </a:schemeClr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Аналог </a:t>
                      </a:r>
                      <a:r>
                        <a:rPr lang="ru-RU" sz="1250" kern="1200" baseline="30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90</a:t>
                      </a:r>
                      <a:r>
                        <a:rPr lang="en-US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Y</a:t>
                      </a:r>
                      <a:r>
                        <a:rPr lang="ru-RU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-цитрат (альбумин)</a:t>
                      </a:r>
                    </a:p>
                    <a:p>
                      <a:endParaRPr lang="ru-RU" sz="1250" b="0" dirty="0">
                        <a:solidFill>
                          <a:schemeClr val="bg2">
                            <a:lumMod val="25000"/>
                          </a:schemeClr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25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j-lt"/>
                        </a:rPr>
                        <a:t>6</a:t>
                      </a:r>
                      <a:endParaRPr lang="ru-RU" sz="1250" dirty="0">
                        <a:solidFill>
                          <a:schemeClr val="bg2">
                            <a:lumMod val="25000"/>
                          </a:schemeClr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5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j-lt"/>
                        </a:rPr>
                        <a:t>Высокоселективный препарат для молочной железы</a:t>
                      </a:r>
                      <a:endParaRPr lang="ru-RU" sz="1250" b="1" dirty="0">
                        <a:solidFill>
                          <a:schemeClr val="bg2">
                            <a:lumMod val="25000"/>
                          </a:schemeClr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50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ФП (лекарственное средство)</a:t>
                      </a:r>
                      <a:r>
                        <a:rPr lang="ru-RU" sz="1250" kern="1200" baseline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50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 прямое использование для терапии</a:t>
                      </a:r>
                      <a:endParaRPr lang="ru-RU" sz="1250" b="0" kern="1200" dirty="0" smtClean="0">
                        <a:solidFill>
                          <a:schemeClr val="bg2">
                            <a:lumMod val="25000"/>
                          </a:schemeClr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  <a:p>
                      <a:endParaRPr lang="ru-RU" sz="1250" b="0" dirty="0">
                        <a:solidFill>
                          <a:schemeClr val="bg2">
                            <a:lumMod val="25000"/>
                          </a:schemeClr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Лечение рака молочной железы</a:t>
                      </a:r>
                      <a:endParaRPr lang="ru-RU" sz="1250" b="0" dirty="0">
                        <a:solidFill>
                          <a:schemeClr val="bg2">
                            <a:lumMod val="25000"/>
                          </a:schemeClr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Препарат на основе </a:t>
                      </a:r>
                      <a:r>
                        <a:rPr lang="ru-RU" sz="1250" kern="12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моноклонального</a:t>
                      </a:r>
                      <a:r>
                        <a:rPr lang="ru-RU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 антитела (аналог </a:t>
                      </a:r>
                      <a:r>
                        <a:rPr lang="ru-RU" sz="1250" kern="1200" baseline="30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90</a:t>
                      </a:r>
                      <a:r>
                        <a:rPr lang="en-US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Y</a:t>
                      </a:r>
                      <a:r>
                        <a:rPr lang="ru-RU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-</a:t>
                      </a:r>
                      <a:r>
                        <a:rPr lang="en-US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anti</a:t>
                      </a:r>
                      <a:r>
                        <a:rPr lang="ru-RU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-</a:t>
                      </a:r>
                      <a:r>
                        <a:rPr lang="en-US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CEA </a:t>
                      </a:r>
                      <a:r>
                        <a:rPr lang="en-US" sz="1250" kern="12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MAb</a:t>
                      </a:r>
                      <a:r>
                        <a:rPr lang="ru-RU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), либо одного из  гормонов APUD-системы (аналог </a:t>
                      </a:r>
                      <a:r>
                        <a:rPr lang="ru-RU" sz="1250" kern="1200" baseline="30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90</a:t>
                      </a:r>
                      <a:r>
                        <a:rPr lang="en-US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Y</a:t>
                      </a:r>
                      <a:r>
                        <a:rPr lang="ru-RU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-</a:t>
                      </a:r>
                      <a:r>
                        <a:rPr lang="en-US" sz="1250" kern="12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bombesin</a:t>
                      </a:r>
                      <a:r>
                        <a:rPr lang="ru-RU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/</a:t>
                      </a:r>
                      <a:r>
                        <a:rPr lang="en-US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GRP analog</a:t>
                      </a:r>
                      <a:r>
                        <a:rPr lang="ru-RU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), либо пептидного аналога активного центра альфа-</a:t>
                      </a:r>
                      <a:r>
                        <a:rPr lang="ru-RU" sz="1250" kern="12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фетопротеина</a:t>
                      </a:r>
                      <a:r>
                        <a:rPr lang="ru-RU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 (аналог </a:t>
                      </a:r>
                      <a:r>
                        <a:rPr lang="ru-RU" sz="1250" kern="1200" baseline="300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90</a:t>
                      </a:r>
                      <a:r>
                        <a:rPr lang="en-US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Y</a:t>
                      </a:r>
                      <a:r>
                        <a:rPr lang="ru-RU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-</a:t>
                      </a:r>
                      <a:r>
                        <a:rPr lang="en-US" sz="1250" kern="12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alpha fetoprotein </a:t>
                      </a:r>
                      <a:r>
                        <a:rPr lang="en-US" sz="1250" kern="1200" dirty="0" err="1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Mab</a:t>
                      </a:r>
                      <a:r>
                        <a:rPr lang="ru-RU" sz="1250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j-lt"/>
                        </a:rPr>
                        <a:t>)</a:t>
                      </a:r>
                      <a:endParaRPr lang="ru-RU" sz="1250" b="0" dirty="0">
                        <a:solidFill>
                          <a:schemeClr val="bg2">
                            <a:lumMod val="25000"/>
                          </a:schemeClr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6967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377546" y="248349"/>
            <a:ext cx="8424936" cy="576064"/>
          </a:xfrm>
          <a:prstGeom prst="rect">
            <a:avLst/>
          </a:prstGeom>
        </p:spPr>
        <p:txBody>
          <a:bodyPr rtlCol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9pPr>
          </a:lstStyle>
          <a:p>
            <a:pPr fontAlgn="auto">
              <a:spcAft>
                <a:spcPts val="600"/>
              </a:spcAft>
              <a:defRPr/>
            </a:pPr>
            <a:r>
              <a:rPr lang="ru-RU" sz="2400" b="1" dirty="0">
                <a:solidFill>
                  <a:srgbClr val="002060"/>
                </a:solidFill>
                <a:effectLst/>
              </a:rPr>
              <a:t>ПОТРЕБИТЕЛИ ПРОДУКЦИИ С </a:t>
            </a:r>
            <a:r>
              <a:rPr lang="en-US" sz="2400" b="1" dirty="0">
                <a:solidFill>
                  <a:srgbClr val="002060"/>
                </a:solidFill>
                <a:effectLst/>
              </a:rPr>
              <a:t>Y-90</a:t>
            </a:r>
            <a:endParaRPr lang="ru-RU" sz="2400" b="1" dirty="0">
              <a:solidFill>
                <a:srgbClr val="002060"/>
              </a:solidFill>
              <a:effectLst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9539359"/>
              </p:ext>
            </p:extLst>
          </p:nvPr>
        </p:nvGraphicFramePr>
        <p:xfrm>
          <a:off x="1763688" y="1412776"/>
          <a:ext cx="5544616" cy="3355139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84282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7365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92814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538051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u="none" kern="1200" dirty="0">
                          <a:effectLst/>
                          <a:latin typeface="+mj-lt"/>
                        </a:rPr>
                        <a:t>СТРАНА</a:t>
                      </a:r>
                      <a:endParaRPr lang="ru-RU" sz="1600" b="1" u="none" kern="1200" dirty="0">
                        <a:solidFill>
                          <a:srgbClr val="C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7365" marR="47365" marT="0" marB="0" anchor="ctr"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+mj-lt"/>
                        </a:rPr>
                        <a:t>ОТДЕЛЕНИЙ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+mj-lt"/>
                        </a:rPr>
                        <a:t>РАДИОНУКЛИДНОЙ</a:t>
                      </a:r>
                      <a:r>
                        <a:rPr lang="ru-RU" sz="1600" kern="1200" baseline="0" dirty="0">
                          <a:effectLst/>
                          <a:latin typeface="+mj-lt"/>
                        </a:rPr>
                        <a:t> ТЕРАПИИ</a:t>
                      </a:r>
                      <a:endParaRPr lang="ru-RU" sz="1600" b="1" kern="1200" dirty="0">
                        <a:solidFill>
                          <a:srgbClr val="C00000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47365" marR="47365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6536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  <a:latin typeface="+mj-lt"/>
                        </a:rPr>
                        <a:t>Всего</a:t>
                      </a:r>
                      <a:endParaRPr lang="ru-RU" sz="1800" b="1" kern="1200" dirty="0">
                        <a:solidFill>
                          <a:srgbClr val="C00000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47365" marR="47365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kern="1200" dirty="0">
                          <a:effectLst/>
                          <a:latin typeface="+mj-lt"/>
                        </a:rPr>
                        <a:t>Действ.</a:t>
                      </a:r>
                      <a:endParaRPr lang="ru-RU" sz="1800" b="1" kern="1200" dirty="0">
                        <a:solidFill>
                          <a:srgbClr val="C00000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47365" marR="47365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0995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u="none" dirty="0">
                          <a:effectLst/>
                          <a:latin typeface="+mj-lt"/>
                        </a:rPr>
                        <a:t>Россия</a:t>
                      </a:r>
                      <a:endParaRPr lang="ru-RU" sz="2000" u="none" dirty="0">
                        <a:solidFill>
                          <a:schemeClr val="accent2"/>
                        </a:solidFill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47365" marR="47365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+mj-lt"/>
                        </a:rPr>
                        <a:t>22</a:t>
                      </a:r>
                      <a:endParaRPr lang="ru-RU" sz="1600" b="1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7365" marR="47365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+mj-lt"/>
                        </a:rPr>
                        <a:t>14</a:t>
                      </a:r>
                      <a:endParaRPr lang="ru-RU" sz="1600" b="1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7365" marR="47365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0995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u="none" dirty="0">
                          <a:effectLst/>
                          <a:latin typeface="+mj-lt"/>
                        </a:rPr>
                        <a:t>Армения</a:t>
                      </a:r>
                      <a:endParaRPr lang="ru-RU" sz="2000" u="none" dirty="0">
                        <a:solidFill>
                          <a:schemeClr val="accent2"/>
                        </a:solidFill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47365" marR="47365" marT="0" marB="0" anchor="ctr"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+mj-lt"/>
                        </a:rPr>
                        <a:t>0</a:t>
                      </a:r>
                      <a:endParaRPr lang="ru-RU" sz="1600" b="1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7365" marR="47365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3698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u="none" dirty="0">
                          <a:effectLst/>
                          <a:latin typeface="+mj-lt"/>
                        </a:rPr>
                        <a:t>Беларусь</a:t>
                      </a:r>
                      <a:endParaRPr lang="ru-RU" sz="2000" u="none" dirty="0">
                        <a:solidFill>
                          <a:schemeClr val="accent2"/>
                        </a:solidFill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47365" marR="4736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+mj-lt"/>
                        </a:rPr>
                        <a:t>2</a:t>
                      </a:r>
                      <a:endParaRPr lang="ru-RU" sz="1600" b="1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7365" marR="4736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+mj-lt"/>
                        </a:rPr>
                        <a:t>2</a:t>
                      </a:r>
                      <a:endParaRPr lang="ru-RU" sz="1600" b="1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7365" marR="47365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0235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u="none" dirty="0">
                          <a:effectLst/>
                          <a:latin typeface="+mj-lt"/>
                        </a:rPr>
                        <a:t>Казахстан</a:t>
                      </a:r>
                      <a:endParaRPr lang="ru-RU" sz="2000" u="none" dirty="0">
                        <a:solidFill>
                          <a:schemeClr val="accent2"/>
                        </a:solidFill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47365" marR="47365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+mj-lt"/>
                        </a:rPr>
                        <a:t>3</a:t>
                      </a:r>
                      <a:endParaRPr lang="ru-RU" sz="1600" b="1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7365" marR="47365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+mj-lt"/>
                        </a:rPr>
                        <a:t>0</a:t>
                      </a:r>
                      <a:endParaRPr lang="ru-RU" sz="1600" b="1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7365" marR="47365" marT="0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5698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u="none" dirty="0">
                          <a:effectLst/>
                          <a:latin typeface="+mj-lt"/>
                        </a:rPr>
                        <a:t>Киргизстан</a:t>
                      </a:r>
                      <a:endParaRPr lang="ru-RU" sz="2000" u="none" dirty="0">
                        <a:solidFill>
                          <a:schemeClr val="accent2"/>
                        </a:solidFill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47365" marR="47365" marT="0" marB="0" anchor="ctr"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+mj-lt"/>
                        </a:rPr>
                        <a:t>0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+mj-lt"/>
                        </a:rPr>
                        <a:t> </a:t>
                      </a:r>
                      <a:endParaRPr lang="ru-RU" sz="1600" b="1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7365" marR="47365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9144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u="none" dirty="0">
                          <a:effectLst/>
                          <a:latin typeface="+mj-lt"/>
                        </a:rPr>
                        <a:t>Таджикистан</a:t>
                      </a:r>
                      <a:endParaRPr lang="ru-RU" sz="2000" u="none" dirty="0">
                        <a:solidFill>
                          <a:schemeClr val="accent2"/>
                        </a:solidFill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47365" marR="47365" marT="0" marB="0" anchor="ctr"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+mj-lt"/>
                        </a:rPr>
                        <a:t>0</a:t>
                      </a:r>
                      <a:endParaRPr lang="ru-RU" sz="1600" b="1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7365" marR="47365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305538" y="5373216"/>
            <a:ext cx="8496944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В соответствии с текущими трендами развития ядерной медицины в постсоветском пространстве ожидается, что к моменту начала реализации продукции с </a:t>
            </a:r>
            <a:r>
              <a:rPr lang="en-US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Y</a:t>
            </a:r>
            <a:r>
              <a:rPr lang="ru-RU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-</a:t>
            </a:r>
            <a:r>
              <a:rPr lang="en-US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90 </a:t>
            </a:r>
            <a:r>
              <a:rPr lang="ru-RU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по данному проекту в большинстве стран СНГ будут запущены отделения </a:t>
            </a:r>
            <a:r>
              <a:rPr lang="ru-RU" sz="15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радионуклидной</a:t>
            </a:r>
            <a:r>
              <a:rPr lang="ru-RU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терапии.</a:t>
            </a:r>
            <a:endParaRPr lang="ru-RU" sz="15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64263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251520" y="332656"/>
            <a:ext cx="5256584" cy="576064"/>
          </a:xfrm>
          <a:prstGeom prst="rect">
            <a:avLst/>
          </a:prstGeom>
        </p:spPr>
        <p:txBody>
          <a:bodyPr rtlCol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9pPr>
          </a:lstStyle>
          <a:p>
            <a:pPr fontAlgn="auto">
              <a:spcAft>
                <a:spcPts val="600"/>
              </a:spcAft>
              <a:defRPr/>
            </a:pPr>
            <a:r>
              <a:rPr lang="ru-RU" sz="2400" b="1" dirty="0">
                <a:solidFill>
                  <a:srgbClr val="002060"/>
                </a:solidFill>
                <a:effectLst/>
              </a:rPr>
              <a:t>ПОТРЕБНОСТИ В ПРОДУКЦИИ С </a:t>
            </a:r>
            <a:r>
              <a:rPr lang="en-US" sz="2400" b="1" dirty="0">
                <a:solidFill>
                  <a:srgbClr val="002060"/>
                </a:solidFill>
                <a:effectLst/>
              </a:rPr>
              <a:t>Y-90</a:t>
            </a:r>
            <a:endParaRPr lang="ru-RU" sz="2400" b="1" dirty="0">
              <a:solidFill>
                <a:srgbClr val="002060"/>
              </a:solidFill>
              <a:effectLst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51520" y="1700808"/>
            <a:ext cx="8440441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 algn="l">
              <a:buFont typeface="Arial" pitchFamily="34" charset="0"/>
              <a:buChar char="•"/>
            </a:pPr>
            <a:r>
              <a:rPr lang="ru-RU" b="1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Фармацевтическая субстанция на основе </a:t>
            </a:r>
            <a:r>
              <a:rPr lang="en-US" b="1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Y</a:t>
            </a:r>
            <a:r>
              <a:rPr lang="ru-RU" b="1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-90</a:t>
            </a:r>
          </a:p>
          <a:p>
            <a:pPr lvl="0" algn="l"/>
            <a:r>
              <a:rPr lang="ru-RU" sz="1600" dirty="0">
                <a:latin typeface="+mj-lt"/>
              </a:rPr>
              <a:t>Основной объем потребления – для  РФП и </a:t>
            </a:r>
            <a:r>
              <a:rPr lang="ru-RU" sz="1600" dirty="0" err="1">
                <a:latin typeface="+mj-lt"/>
              </a:rPr>
              <a:t>медизделий</a:t>
            </a:r>
            <a:r>
              <a:rPr lang="ru-RU" sz="1600" dirty="0">
                <a:latin typeface="+mj-lt"/>
              </a:rPr>
              <a:t> собственного производства. </a:t>
            </a:r>
            <a:endParaRPr lang="ru-RU" sz="1600" dirty="0" smtClean="0">
              <a:latin typeface="+mj-lt"/>
            </a:endParaRPr>
          </a:p>
          <a:p>
            <a:pPr lvl="0" algn="l"/>
            <a:r>
              <a:rPr lang="ru-RU" sz="1600" dirty="0" smtClean="0">
                <a:latin typeface="+mj-lt"/>
              </a:rPr>
              <a:t>Продажа </a:t>
            </a:r>
            <a:r>
              <a:rPr lang="ru-RU" sz="1600" dirty="0">
                <a:latin typeface="+mj-lt"/>
              </a:rPr>
              <a:t>самой ФС будет иметь ограниченный потенциал потребления, не более 2% от основных мировых производителей </a:t>
            </a:r>
            <a:r>
              <a:rPr lang="ru-RU" sz="1300" dirty="0">
                <a:latin typeface="+mj-lt"/>
              </a:rPr>
              <a:t> - </a:t>
            </a:r>
            <a:r>
              <a:rPr lang="ru-RU" sz="1600" b="1" dirty="0">
                <a:solidFill>
                  <a:srgbClr val="C00000"/>
                </a:solidFill>
                <a:latin typeface="+mj-lt"/>
              </a:rPr>
              <a:t>100 </a:t>
            </a:r>
            <a:r>
              <a:rPr lang="ru-RU" sz="1600" b="1" dirty="0" smtClean="0">
                <a:solidFill>
                  <a:srgbClr val="C00000"/>
                </a:solidFill>
                <a:latin typeface="+mj-lt"/>
              </a:rPr>
              <a:t>Ки/год</a:t>
            </a:r>
            <a:endParaRPr lang="ru-RU" sz="1600" dirty="0">
              <a:solidFill>
                <a:srgbClr val="C00000"/>
              </a:solidFill>
              <a:latin typeface="+mj-lt"/>
            </a:endParaRPr>
          </a:p>
          <a:p>
            <a:pPr lvl="0" algn="l"/>
            <a:endParaRPr lang="ru-RU" sz="1300" dirty="0">
              <a:solidFill>
                <a:srgbClr val="C00000"/>
              </a:solidFill>
              <a:latin typeface="+mj-lt"/>
            </a:endParaRPr>
          </a:p>
          <a:p>
            <a:pPr marL="171450" lvl="0" indent="-171450" algn="l">
              <a:spcBef>
                <a:spcPts val="600"/>
              </a:spcBef>
              <a:buFont typeface="Arial" pitchFamily="34" charset="0"/>
              <a:buChar char="•"/>
            </a:pPr>
            <a:r>
              <a:rPr lang="ru-RU" b="1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Препарат на основе </a:t>
            </a:r>
            <a:r>
              <a:rPr lang="ru-RU" b="1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моноклональных</a:t>
            </a:r>
            <a:r>
              <a:rPr lang="ru-RU" b="1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антител для лечения </a:t>
            </a:r>
            <a:r>
              <a:rPr lang="ru-RU" b="1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неходжкинских</a:t>
            </a:r>
            <a:r>
              <a:rPr lang="ru-RU" b="1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лимфом </a:t>
            </a:r>
          </a:p>
          <a:p>
            <a:pPr lvl="0" algn="l"/>
            <a:r>
              <a:rPr lang="ru-RU" sz="1600" dirty="0">
                <a:latin typeface="+mj-lt"/>
              </a:rPr>
              <a:t>Потенциальная</a:t>
            </a:r>
            <a:r>
              <a:rPr lang="ru-RU" sz="1600" b="1" dirty="0">
                <a:latin typeface="+mj-lt"/>
              </a:rPr>
              <a:t> </a:t>
            </a:r>
            <a:r>
              <a:rPr lang="ru-RU" sz="1600" dirty="0">
                <a:latin typeface="+mj-lt"/>
              </a:rPr>
              <a:t>потребность </a:t>
            </a:r>
            <a:r>
              <a:rPr lang="ru-RU" sz="1300" dirty="0">
                <a:latin typeface="+mj-lt"/>
              </a:rPr>
              <a:t>- </a:t>
            </a:r>
            <a:r>
              <a:rPr lang="ru-RU" sz="1600" b="1" dirty="0">
                <a:solidFill>
                  <a:srgbClr val="C00000"/>
                </a:solidFill>
                <a:latin typeface="+mj-lt"/>
              </a:rPr>
              <a:t>2100 доз/год, </a:t>
            </a:r>
            <a:r>
              <a:rPr lang="ru-RU" sz="1600" b="1" dirty="0" smtClean="0">
                <a:solidFill>
                  <a:srgbClr val="C00000"/>
                </a:solidFill>
                <a:latin typeface="+mj-lt"/>
              </a:rPr>
              <a:t>  42 </a:t>
            </a:r>
            <a:r>
              <a:rPr lang="ru-RU" sz="1600" b="1" dirty="0">
                <a:solidFill>
                  <a:srgbClr val="C00000"/>
                </a:solidFill>
                <a:latin typeface="+mj-lt"/>
              </a:rPr>
              <a:t>Ки/год </a:t>
            </a:r>
            <a:r>
              <a:rPr lang="ru-RU" sz="1600" b="1" dirty="0" smtClean="0">
                <a:solidFill>
                  <a:srgbClr val="C00000"/>
                </a:solidFill>
                <a:latin typeface="+mj-lt"/>
              </a:rPr>
              <a:t>  </a:t>
            </a:r>
            <a:r>
              <a:rPr lang="ru-RU" sz="1300" dirty="0" smtClean="0">
                <a:latin typeface="+mj-lt"/>
              </a:rPr>
              <a:t>(</a:t>
            </a:r>
            <a:r>
              <a:rPr lang="ru-RU" sz="1300" dirty="0">
                <a:latin typeface="+mj-lt"/>
              </a:rPr>
              <a:t>на дату применения</a:t>
            </a:r>
            <a:r>
              <a:rPr lang="ru-RU" sz="1300" dirty="0" smtClean="0">
                <a:latin typeface="+mj-lt"/>
              </a:rPr>
              <a:t>)</a:t>
            </a:r>
            <a:endParaRPr lang="ru-RU" sz="1300" dirty="0">
              <a:latin typeface="+mj-lt"/>
            </a:endParaRPr>
          </a:p>
          <a:p>
            <a:r>
              <a:rPr lang="ru-RU" sz="1600" dirty="0">
                <a:latin typeface="+mj-lt"/>
              </a:rPr>
              <a:t>Объём производства </a:t>
            </a:r>
            <a:r>
              <a:rPr lang="ru-RU" sz="1300" dirty="0">
                <a:latin typeface="+mj-lt"/>
              </a:rPr>
              <a:t>- </a:t>
            </a:r>
            <a:r>
              <a:rPr lang="ru-RU" sz="1600" b="1" dirty="0">
                <a:solidFill>
                  <a:srgbClr val="C00000"/>
                </a:solidFill>
                <a:latin typeface="+mj-lt"/>
              </a:rPr>
              <a:t>170 Ки/год  </a:t>
            </a:r>
            <a:r>
              <a:rPr lang="ru-RU" sz="1300" dirty="0">
                <a:latin typeface="+mj-lt"/>
              </a:rPr>
              <a:t>(с учетом потерь за счет распада</a:t>
            </a:r>
            <a:r>
              <a:rPr lang="ru-RU" sz="1300" dirty="0" smtClean="0">
                <a:latin typeface="+mj-lt"/>
              </a:rPr>
              <a:t>)</a:t>
            </a:r>
            <a:endParaRPr lang="ru-RU" sz="1300" dirty="0">
              <a:latin typeface="+mj-lt"/>
            </a:endParaRPr>
          </a:p>
          <a:p>
            <a:pPr lvl="0" algn="l"/>
            <a:endParaRPr lang="ru-RU" sz="1300" b="1" dirty="0">
              <a:solidFill>
                <a:srgbClr val="C00000"/>
              </a:solidFill>
              <a:latin typeface="+mj-lt"/>
            </a:endParaRPr>
          </a:p>
          <a:p>
            <a:pPr lvl="0" algn="l"/>
            <a:endParaRPr lang="ru-RU" sz="1300" b="1" dirty="0">
              <a:solidFill>
                <a:srgbClr val="C00000"/>
              </a:solidFill>
              <a:latin typeface="+mj-lt"/>
            </a:endParaRPr>
          </a:p>
          <a:p>
            <a:pPr marL="171450" lvl="0" indent="-171450" algn="l">
              <a:spcBef>
                <a:spcPts val="600"/>
              </a:spcBef>
              <a:buFont typeface="Arial" pitchFamily="34" charset="0"/>
              <a:buChar char="•"/>
            </a:pPr>
            <a:r>
              <a:rPr lang="ru-RU" b="1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Препарат на основе синтетического пептидного аналога </a:t>
            </a:r>
            <a:r>
              <a:rPr lang="ru-RU" b="1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соматостатина</a:t>
            </a:r>
            <a:r>
              <a:rPr lang="ru-RU" b="1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(</a:t>
            </a:r>
            <a:r>
              <a:rPr lang="ru-RU" b="1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октреотида</a:t>
            </a:r>
            <a:r>
              <a:rPr lang="ru-RU" b="1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)</a:t>
            </a:r>
          </a:p>
          <a:p>
            <a:pPr lvl="0" algn="l"/>
            <a:r>
              <a:rPr lang="ru-RU" sz="1600" dirty="0">
                <a:latin typeface="+mj-lt"/>
              </a:rPr>
              <a:t>Потенциальная</a:t>
            </a:r>
            <a:r>
              <a:rPr lang="ru-RU" sz="1600" b="1" dirty="0">
                <a:latin typeface="+mj-lt"/>
              </a:rPr>
              <a:t> </a:t>
            </a:r>
            <a:r>
              <a:rPr lang="ru-RU" sz="1600" dirty="0">
                <a:latin typeface="+mj-lt"/>
              </a:rPr>
              <a:t>потребность </a:t>
            </a:r>
            <a:r>
              <a:rPr lang="ru-RU" sz="1300" dirty="0">
                <a:latin typeface="+mj-lt"/>
              </a:rPr>
              <a:t>- </a:t>
            </a:r>
            <a:r>
              <a:rPr lang="ru-RU" sz="1600" b="1" dirty="0">
                <a:solidFill>
                  <a:srgbClr val="C00000"/>
                </a:solidFill>
                <a:latin typeface="+mj-lt"/>
              </a:rPr>
              <a:t>3150 доз/год, </a:t>
            </a:r>
            <a:r>
              <a:rPr lang="ru-RU" sz="1600" b="1" dirty="0" smtClean="0">
                <a:solidFill>
                  <a:srgbClr val="C00000"/>
                </a:solidFill>
                <a:latin typeface="+mj-lt"/>
              </a:rPr>
              <a:t>  315 </a:t>
            </a:r>
            <a:r>
              <a:rPr lang="ru-RU" sz="1600" b="1" dirty="0">
                <a:solidFill>
                  <a:srgbClr val="C00000"/>
                </a:solidFill>
                <a:latin typeface="+mj-lt"/>
              </a:rPr>
              <a:t>Ки/в год </a:t>
            </a:r>
            <a:r>
              <a:rPr lang="ru-RU" sz="1600" b="1" dirty="0" smtClean="0">
                <a:solidFill>
                  <a:srgbClr val="C00000"/>
                </a:solidFill>
                <a:latin typeface="+mj-lt"/>
              </a:rPr>
              <a:t>  </a:t>
            </a:r>
            <a:r>
              <a:rPr lang="ru-RU" sz="1300" dirty="0" smtClean="0">
                <a:latin typeface="+mj-lt"/>
              </a:rPr>
              <a:t>(</a:t>
            </a:r>
            <a:r>
              <a:rPr lang="ru-RU" sz="1300" dirty="0">
                <a:latin typeface="+mj-lt"/>
              </a:rPr>
              <a:t>на дату применения</a:t>
            </a:r>
            <a:r>
              <a:rPr lang="ru-RU" sz="1300" dirty="0" smtClean="0">
                <a:latin typeface="+mj-lt"/>
              </a:rPr>
              <a:t>)</a:t>
            </a:r>
            <a:endParaRPr lang="ru-RU" sz="1300" dirty="0">
              <a:latin typeface="+mj-lt"/>
            </a:endParaRPr>
          </a:p>
          <a:p>
            <a:pPr lvl="0"/>
            <a:r>
              <a:rPr lang="ru-RU" sz="1600" dirty="0">
                <a:latin typeface="+mj-lt"/>
              </a:rPr>
              <a:t>Объём производства </a:t>
            </a:r>
            <a:r>
              <a:rPr lang="ru-RU" sz="1300" dirty="0">
                <a:latin typeface="+mj-lt"/>
              </a:rPr>
              <a:t>- </a:t>
            </a:r>
            <a:r>
              <a:rPr lang="ru-RU" sz="1600" b="1" dirty="0">
                <a:solidFill>
                  <a:srgbClr val="C00000"/>
                </a:solidFill>
                <a:latin typeface="+mj-lt"/>
              </a:rPr>
              <a:t>1260 </a:t>
            </a:r>
            <a:r>
              <a:rPr lang="ru-RU" sz="1600" b="1" dirty="0" smtClean="0">
                <a:solidFill>
                  <a:srgbClr val="C00000"/>
                </a:solidFill>
                <a:latin typeface="+mj-lt"/>
              </a:rPr>
              <a:t>Ки/год  </a:t>
            </a:r>
            <a:r>
              <a:rPr lang="ru-RU" sz="1300" dirty="0" smtClean="0">
                <a:latin typeface="+mj-lt"/>
              </a:rPr>
              <a:t>(</a:t>
            </a:r>
            <a:r>
              <a:rPr lang="ru-RU" sz="1300" dirty="0">
                <a:latin typeface="+mj-lt"/>
              </a:rPr>
              <a:t>с учетом потерь за счет распада</a:t>
            </a:r>
            <a:r>
              <a:rPr lang="ru-RU" sz="1300" dirty="0" smtClean="0">
                <a:latin typeface="+mj-lt"/>
              </a:rPr>
              <a:t>)</a:t>
            </a:r>
            <a:endParaRPr lang="ru-RU" sz="1300" dirty="0">
              <a:latin typeface="+mj-lt"/>
            </a:endParaRPr>
          </a:p>
          <a:p>
            <a:pPr lvl="0" algn="l"/>
            <a:endParaRPr lang="ru-RU" sz="1300" dirty="0">
              <a:solidFill>
                <a:srgbClr val="C00000"/>
              </a:solidFill>
              <a:latin typeface="+mj-lt"/>
            </a:endParaRPr>
          </a:p>
          <a:p>
            <a:pPr marL="171450" lvl="0" indent="-171450" algn="l">
              <a:spcBef>
                <a:spcPts val="600"/>
              </a:spcBef>
              <a:buFont typeface="Arial" pitchFamily="34" charset="0"/>
              <a:buChar char="•"/>
            </a:pPr>
            <a:r>
              <a:rPr lang="ru-RU" b="1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Микросферы на основе Y-90 для лечения рака печени</a:t>
            </a:r>
          </a:p>
          <a:p>
            <a:pPr lvl="0" algn="l"/>
            <a:r>
              <a:rPr lang="ru-RU" sz="1600" dirty="0">
                <a:latin typeface="+mj-lt"/>
              </a:rPr>
              <a:t>Потенциальная</a:t>
            </a:r>
            <a:r>
              <a:rPr lang="ru-RU" sz="1600" b="1" dirty="0">
                <a:latin typeface="+mj-lt"/>
              </a:rPr>
              <a:t> </a:t>
            </a:r>
            <a:r>
              <a:rPr lang="ru-RU" sz="1600" dirty="0">
                <a:latin typeface="+mj-lt"/>
              </a:rPr>
              <a:t>потребность </a:t>
            </a:r>
            <a:r>
              <a:rPr lang="ru-RU" sz="1300" dirty="0">
                <a:latin typeface="+mj-lt"/>
              </a:rPr>
              <a:t>- </a:t>
            </a:r>
            <a:r>
              <a:rPr lang="ru-RU" sz="1600" b="1" dirty="0">
                <a:solidFill>
                  <a:srgbClr val="C00000"/>
                </a:solidFill>
                <a:latin typeface="+mj-lt"/>
              </a:rPr>
              <a:t>1050</a:t>
            </a:r>
            <a:r>
              <a:rPr lang="ru-RU" sz="1600" dirty="0">
                <a:solidFill>
                  <a:srgbClr val="C00000"/>
                </a:solidFill>
                <a:latin typeface="+mj-lt"/>
              </a:rPr>
              <a:t> </a:t>
            </a:r>
            <a:r>
              <a:rPr lang="ru-RU" sz="1600" b="1" dirty="0">
                <a:solidFill>
                  <a:srgbClr val="C00000"/>
                </a:solidFill>
                <a:latin typeface="+mj-lt"/>
              </a:rPr>
              <a:t>доз/год, </a:t>
            </a:r>
            <a:r>
              <a:rPr lang="ru-RU" sz="1600" b="1" dirty="0" smtClean="0">
                <a:solidFill>
                  <a:srgbClr val="C00000"/>
                </a:solidFill>
                <a:latin typeface="+mj-lt"/>
              </a:rPr>
              <a:t>  84 </a:t>
            </a:r>
            <a:r>
              <a:rPr lang="ru-RU" sz="1600" b="1" dirty="0">
                <a:solidFill>
                  <a:srgbClr val="C00000"/>
                </a:solidFill>
                <a:latin typeface="+mj-lt"/>
              </a:rPr>
              <a:t>Ки/в </a:t>
            </a:r>
            <a:r>
              <a:rPr lang="ru-RU" sz="1600" b="1" dirty="0" smtClean="0">
                <a:solidFill>
                  <a:srgbClr val="C00000"/>
                </a:solidFill>
                <a:latin typeface="+mj-lt"/>
              </a:rPr>
              <a:t>год   </a:t>
            </a:r>
            <a:r>
              <a:rPr lang="ru-RU" sz="1300" dirty="0">
                <a:latin typeface="+mj-lt"/>
              </a:rPr>
              <a:t>(на дату применения</a:t>
            </a:r>
            <a:r>
              <a:rPr lang="ru-RU" sz="1300" dirty="0" smtClean="0">
                <a:latin typeface="+mj-lt"/>
              </a:rPr>
              <a:t>)</a:t>
            </a:r>
            <a:endParaRPr lang="ru-RU" sz="1300" dirty="0">
              <a:latin typeface="+mj-lt"/>
            </a:endParaRPr>
          </a:p>
          <a:p>
            <a:r>
              <a:rPr lang="ru-RU" sz="1600" dirty="0">
                <a:latin typeface="+mj-lt"/>
              </a:rPr>
              <a:t>Объём производства </a:t>
            </a:r>
            <a:r>
              <a:rPr lang="ru-RU" sz="1300" dirty="0">
                <a:latin typeface="+mj-lt"/>
              </a:rPr>
              <a:t>- </a:t>
            </a:r>
            <a:r>
              <a:rPr lang="ru-RU" sz="1600" b="1" dirty="0">
                <a:solidFill>
                  <a:srgbClr val="C00000"/>
                </a:solidFill>
                <a:latin typeface="+mj-lt"/>
              </a:rPr>
              <a:t>336 </a:t>
            </a:r>
            <a:r>
              <a:rPr lang="ru-RU" sz="1600" b="1" dirty="0" smtClean="0">
                <a:solidFill>
                  <a:srgbClr val="C00000"/>
                </a:solidFill>
                <a:latin typeface="+mj-lt"/>
              </a:rPr>
              <a:t>Ки/год   </a:t>
            </a:r>
            <a:r>
              <a:rPr lang="ru-RU" sz="1300" dirty="0" smtClean="0">
                <a:latin typeface="+mj-lt"/>
              </a:rPr>
              <a:t>(</a:t>
            </a:r>
            <a:r>
              <a:rPr lang="ru-RU" sz="1300" dirty="0">
                <a:latin typeface="+mj-lt"/>
              </a:rPr>
              <a:t>с учетом потерь за счет распада</a:t>
            </a:r>
            <a:r>
              <a:rPr lang="ru-RU" sz="1300" dirty="0" smtClean="0">
                <a:latin typeface="+mj-lt"/>
              </a:rPr>
              <a:t>)</a:t>
            </a:r>
            <a:endParaRPr lang="ru-RU" sz="1300" dirty="0">
              <a:latin typeface="+mj-lt"/>
            </a:endParaRPr>
          </a:p>
          <a:p>
            <a:pPr lvl="0" algn="l"/>
            <a:r>
              <a:rPr lang="ru-RU" sz="1600" dirty="0" smtClean="0">
                <a:solidFill>
                  <a:srgbClr val="C00000"/>
                </a:solidFill>
                <a:latin typeface="+mj-lt"/>
              </a:rPr>
              <a:t>.</a:t>
            </a:r>
            <a:endParaRPr lang="ru-RU" sz="1600" dirty="0">
              <a:solidFill>
                <a:srgbClr val="C00000"/>
              </a:solidFill>
              <a:latin typeface="+mj-lt"/>
            </a:endParaRPr>
          </a:p>
          <a:p>
            <a:pPr marL="0" lvl="1" algn="l">
              <a:spcAft>
                <a:spcPts val="600"/>
              </a:spcAft>
            </a:pPr>
            <a:endParaRPr lang="ru-RU" sz="1300" b="1" dirty="0">
              <a:solidFill>
                <a:srgbClr val="000099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94109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Овал 4">
            <a:extLst>
              <a:ext uri="{FF2B5EF4-FFF2-40B4-BE49-F238E27FC236}">
                <a16:creationId xmlns="" xmlns:a16="http://schemas.microsoft.com/office/drawing/2014/main" id="{9DF130BD-281B-4E0D-8079-66C0E3D9B8C4}"/>
              </a:ext>
            </a:extLst>
          </p:cNvPr>
          <p:cNvSpPr/>
          <p:nvPr/>
        </p:nvSpPr>
        <p:spPr>
          <a:xfrm>
            <a:off x="179512" y="4797153"/>
            <a:ext cx="8748464" cy="1656184"/>
          </a:xfrm>
          <a:prstGeom prst="ellipse">
            <a:avLst/>
          </a:prstGeom>
          <a:solidFill>
            <a:schemeClr val="bg1">
              <a:lumMod val="9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284159" y="1340768"/>
            <a:ext cx="8536313" cy="50629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 algn="l">
              <a:spcBef>
                <a:spcPts val="600"/>
              </a:spcBef>
              <a:buFont typeface="Arial" pitchFamily="34" charset="0"/>
              <a:buChar char="•"/>
            </a:pPr>
            <a:r>
              <a:rPr lang="en-US" b="1" dirty="0">
                <a:latin typeface="+mj-lt"/>
              </a:rPr>
              <a:t>Y</a:t>
            </a:r>
            <a:r>
              <a:rPr lang="ru-RU" b="1" dirty="0">
                <a:latin typeface="+mj-lt"/>
              </a:rPr>
              <a:t>-90 коллоид</a:t>
            </a:r>
            <a:endParaRPr lang="ru-RU" dirty="0">
              <a:latin typeface="+mj-lt"/>
            </a:endParaRPr>
          </a:p>
          <a:p>
            <a:pPr lvl="0" algn="l">
              <a:spcBef>
                <a:spcPts val="0"/>
              </a:spcBef>
            </a:pPr>
            <a:r>
              <a:rPr lang="ru-RU" sz="1600" dirty="0">
                <a:latin typeface="+mj-lt"/>
              </a:rPr>
              <a:t>Потенциальная</a:t>
            </a:r>
            <a:r>
              <a:rPr lang="ru-RU" sz="1600" b="1" dirty="0">
                <a:latin typeface="+mj-lt"/>
              </a:rPr>
              <a:t> </a:t>
            </a:r>
            <a:r>
              <a:rPr lang="ru-RU" sz="1600" dirty="0">
                <a:latin typeface="+mj-lt"/>
              </a:rPr>
              <a:t>потребность </a:t>
            </a:r>
            <a:r>
              <a:rPr lang="ru-RU" sz="1300" dirty="0">
                <a:latin typeface="+mj-lt"/>
              </a:rPr>
              <a:t>- </a:t>
            </a:r>
            <a:r>
              <a:rPr lang="ru-RU" sz="1600" b="1" dirty="0">
                <a:solidFill>
                  <a:srgbClr val="C00000"/>
                </a:solidFill>
                <a:latin typeface="+mj-lt"/>
              </a:rPr>
              <a:t>1000 доз/год, </a:t>
            </a:r>
            <a:r>
              <a:rPr lang="ru-RU" sz="1600" b="1" dirty="0" smtClean="0">
                <a:solidFill>
                  <a:srgbClr val="C00000"/>
                </a:solidFill>
                <a:latin typeface="+mj-lt"/>
              </a:rPr>
              <a:t>  5 </a:t>
            </a:r>
            <a:r>
              <a:rPr lang="ru-RU" sz="1600" b="1" dirty="0">
                <a:solidFill>
                  <a:srgbClr val="C00000"/>
                </a:solidFill>
                <a:latin typeface="+mj-lt"/>
              </a:rPr>
              <a:t>Ки/в год </a:t>
            </a:r>
            <a:r>
              <a:rPr lang="ru-RU" sz="1600" b="1" dirty="0" smtClean="0">
                <a:solidFill>
                  <a:srgbClr val="C00000"/>
                </a:solidFill>
                <a:latin typeface="+mj-lt"/>
              </a:rPr>
              <a:t>  </a:t>
            </a:r>
            <a:r>
              <a:rPr lang="ru-RU" sz="1300" dirty="0" smtClean="0">
                <a:latin typeface="+mj-lt"/>
              </a:rPr>
              <a:t>(</a:t>
            </a:r>
            <a:r>
              <a:rPr lang="ru-RU" sz="1300" dirty="0">
                <a:latin typeface="+mj-lt"/>
              </a:rPr>
              <a:t>на дату применения</a:t>
            </a:r>
            <a:r>
              <a:rPr lang="ru-RU" sz="1300" dirty="0" smtClean="0">
                <a:latin typeface="+mj-lt"/>
              </a:rPr>
              <a:t>)</a:t>
            </a:r>
            <a:endParaRPr lang="ru-RU" sz="1300" dirty="0">
              <a:latin typeface="+mj-lt"/>
            </a:endParaRPr>
          </a:p>
          <a:p>
            <a:pPr lvl="0"/>
            <a:r>
              <a:rPr lang="ru-RU" sz="1600" dirty="0">
                <a:latin typeface="+mj-lt"/>
              </a:rPr>
              <a:t>Объём производства </a:t>
            </a:r>
            <a:r>
              <a:rPr lang="ru-RU" sz="1300" dirty="0">
                <a:latin typeface="+mj-lt"/>
              </a:rPr>
              <a:t>- </a:t>
            </a:r>
            <a:r>
              <a:rPr lang="ru-RU" sz="1600" b="1" dirty="0">
                <a:solidFill>
                  <a:srgbClr val="C00000"/>
                </a:solidFill>
                <a:latin typeface="+mj-lt"/>
              </a:rPr>
              <a:t>20 </a:t>
            </a:r>
            <a:r>
              <a:rPr lang="ru-RU" sz="1600" b="1" dirty="0" smtClean="0">
                <a:solidFill>
                  <a:srgbClr val="C00000"/>
                </a:solidFill>
                <a:latin typeface="+mj-lt"/>
              </a:rPr>
              <a:t>Ки/год   </a:t>
            </a:r>
            <a:r>
              <a:rPr lang="ru-RU" sz="1300" dirty="0" smtClean="0">
                <a:latin typeface="+mj-lt"/>
              </a:rPr>
              <a:t>(</a:t>
            </a:r>
            <a:r>
              <a:rPr lang="ru-RU" sz="1300" dirty="0">
                <a:latin typeface="+mj-lt"/>
              </a:rPr>
              <a:t>с учетом потерь за счет распада)</a:t>
            </a:r>
          </a:p>
          <a:p>
            <a:pPr lvl="0" algn="l">
              <a:spcBef>
                <a:spcPts val="0"/>
              </a:spcBef>
            </a:pPr>
            <a:endParaRPr lang="ru-RU" sz="1300" dirty="0">
              <a:solidFill>
                <a:srgbClr val="C00000"/>
              </a:solidFill>
              <a:latin typeface="+mj-lt"/>
            </a:endParaRPr>
          </a:p>
          <a:p>
            <a:pPr marL="171450" lvl="0" indent="-171450" algn="l">
              <a:spcBef>
                <a:spcPts val="600"/>
              </a:spcBef>
              <a:buFont typeface="Arial" pitchFamily="34" charset="0"/>
              <a:buChar char="•"/>
            </a:pPr>
            <a:r>
              <a:rPr lang="ru-RU" b="1" dirty="0">
                <a:latin typeface="+mj-lt"/>
              </a:rPr>
              <a:t>Препарат для лечения рака молочной железы</a:t>
            </a:r>
          </a:p>
          <a:p>
            <a:pPr algn="l">
              <a:spcBef>
                <a:spcPts val="0"/>
              </a:spcBef>
            </a:pPr>
            <a:r>
              <a:rPr lang="ru-RU" sz="1600" dirty="0">
                <a:latin typeface="+mj-lt"/>
              </a:rPr>
              <a:t>Потенциальная</a:t>
            </a:r>
            <a:r>
              <a:rPr lang="ru-RU" sz="1600" b="1" dirty="0">
                <a:latin typeface="+mj-lt"/>
              </a:rPr>
              <a:t> </a:t>
            </a:r>
            <a:r>
              <a:rPr lang="ru-RU" sz="1600" dirty="0">
                <a:latin typeface="+mj-lt"/>
              </a:rPr>
              <a:t>потребность </a:t>
            </a:r>
            <a:r>
              <a:rPr lang="ru-RU" sz="1300" dirty="0">
                <a:latin typeface="+mj-lt"/>
              </a:rPr>
              <a:t>- </a:t>
            </a:r>
            <a:r>
              <a:rPr lang="ru-RU" sz="1300" b="1" dirty="0">
                <a:latin typeface="+mj-lt"/>
              </a:rPr>
              <a:t>1050 доз/год, 21 Ки/год </a:t>
            </a:r>
            <a:r>
              <a:rPr lang="ru-RU" sz="1300" dirty="0">
                <a:latin typeface="+mj-lt"/>
              </a:rPr>
              <a:t>(на дату применения</a:t>
            </a:r>
            <a:r>
              <a:rPr lang="ru-RU" sz="1300" dirty="0" smtClean="0">
                <a:latin typeface="+mj-lt"/>
              </a:rPr>
              <a:t>)</a:t>
            </a:r>
            <a:endParaRPr lang="ru-RU" sz="1300" dirty="0">
              <a:latin typeface="+mj-lt"/>
            </a:endParaRPr>
          </a:p>
          <a:p>
            <a:r>
              <a:rPr lang="ru-RU" sz="1600" dirty="0">
                <a:latin typeface="+mj-lt"/>
              </a:rPr>
              <a:t>Объём производства </a:t>
            </a:r>
            <a:r>
              <a:rPr lang="ru-RU" sz="1300" dirty="0">
                <a:latin typeface="+mj-lt"/>
              </a:rPr>
              <a:t>-  </a:t>
            </a:r>
            <a:r>
              <a:rPr lang="ru-RU" sz="1600" b="1" dirty="0">
                <a:solidFill>
                  <a:srgbClr val="C00000"/>
                </a:solidFill>
                <a:latin typeface="+mj-lt"/>
              </a:rPr>
              <a:t>85 </a:t>
            </a:r>
            <a:r>
              <a:rPr lang="ru-RU" sz="1600" b="1" dirty="0" smtClean="0">
                <a:solidFill>
                  <a:srgbClr val="C00000"/>
                </a:solidFill>
                <a:latin typeface="+mj-lt"/>
              </a:rPr>
              <a:t>Ки/год   </a:t>
            </a:r>
            <a:r>
              <a:rPr lang="ru-RU" sz="1300" dirty="0" smtClean="0">
                <a:latin typeface="+mj-lt"/>
              </a:rPr>
              <a:t>(</a:t>
            </a:r>
            <a:r>
              <a:rPr lang="ru-RU" sz="1300" dirty="0">
                <a:latin typeface="+mj-lt"/>
              </a:rPr>
              <a:t>с учетом потерь за счет распада)</a:t>
            </a:r>
          </a:p>
          <a:p>
            <a:pPr lvl="0" algn="l"/>
            <a:endParaRPr lang="ru-RU" sz="1300" dirty="0">
              <a:latin typeface="+mj-lt"/>
            </a:endParaRPr>
          </a:p>
          <a:p>
            <a:pPr lvl="0" algn="l"/>
            <a:endParaRPr lang="ru-RU" sz="1300" dirty="0">
              <a:latin typeface="+mj-l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b="1" dirty="0">
                <a:latin typeface="+mj-lt"/>
              </a:rPr>
              <a:t>Суммарная максимальная мощность производства </a:t>
            </a:r>
            <a:r>
              <a:rPr lang="ru-RU" sz="1300" dirty="0">
                <a:latin typeface="+mj-lt"/>
              </a:rPr>
              <a:t>(активность на дату производства) </a:t>
            </a:r>
          </a:p>
          <a:p>
            <a:pPr algn="l"/>
            <a:r>
              <a:rPr lang="ru-RU" sz="1600" dirty="0">
                <a:latin typeface="+mj-lt"/>
              </a:rPr>
              <a:t>РФП/МИ с </a:t>
            </a:r>
            <a:r>
              <a:rPr lang="en-US" sz="1600" dirty="0">
                <a:latin typeface="+mj-lt"/>
              </a:rPr>
              <a:t>Y</a:t>
            </a:r>
            <a:r>
              <a:rPr lang="ru-RU" sz="1600" dirty="0">
                <a:latin typeface="+mj-lt"/>
              </a:rPr>
              <a:t>-90 -</a:t>
            </a:r>
            <a:r>
              <a:rPr lang="ru-RU" sz="1600" b="1" dirty="0">
                <a:solidFill>
                  <a:srgbClr val="C00000"/>
                </a:solidFill>
                <a:latin typeface="+mj-lt"/>
              </a:rPr>
              <a:t>2000 Ки в год</a:t>
            </a:r>
          </a:p>
          <a:p>
            <a:pPr algn="l">
              <a:spcBef>
                <a:spcPts val="0"/>
              </a:spcBef>
            </a:pPr>
            <a:r>
              <a:rPr lang="en-US" sz="1600" dirty="0">
                <a:latin typeface="+mj-lt"/>
              </a:rPr>
              <a:t>Y</a:t>
            </a:r>
            <a:r>
              <a:rPr lang="ru-RU" sz="1600" dirty="0">
                <a:latin typeface="+mj-lt"/>
              </a:rPr>
              <a:t>-90 в качестве </a:t>
            </a:r>
            <a:r>
              <a:rPr lang="ru-RU" sz="1600" dirty="0" err="1">
                <a:latin typeface="+mj-lt"/>
              </a:rPr>
              <a:t>фармсубстанции</a:t>
            </a:r>
            <a:r>
              <a:rPr lang="ru-RU" sz="1600" dirty="0">
                <a:latin typeface="+mj-lt"/>
              </a:rPr>
              <a:t> </a:t>
            </a:r>
            <a:r>
              <a:rPr lang="ru-RU" sz="1300" dirty="0">
                <a:latin typeface="+mj-lt"/>
              </a:rPr>
              <a:t>- </a:t>
            </a:r>
            <a:r>
              <a:rPr lang="ru-RU" sz="1600" b="1" dirty="0">
                <a:solidFill>
                  <a:srgbClr val="C00000"/>
                </a:solidFill>
                <a:latin typeface="+mj-lt"/>
              </a:rPr>
              <a:t>100 </a:t>
            </a:r>
            <a:r>
              <a:rPr lang="ru-RU" sz="1600" b="1" dirty="0" smtClean="0">
                <a:solidFill>
                  <a:srgbClr val="C00000"/>
                </a:solidFill>
                <a:latin typeface="+mj-lt"/>
              </a:rPr>
              <a:t>Ки/год</a:t>
            </a:r>
            <a:endParaRPr lang="ru-RU" sz="1600" b="1" dirty="0">
              <a:solidFill>
                <a:srgbClr val="C00000"/>
              </a:solidFill>
              <a:latin typeface="+mj-lt"/>
            </a:endParaRPr>
          </a:p>
          <a:p>
            <a:pPr marL="171450" indent="-171450" algn="l">
              <a:buFont typeface="Arial" pitchFamily="34" charset="0"/>
              <a:buChar char="•"/>
            </a:pPr>
            <a:endParaRPr lang="ru-RU" sz="1300" dirty="0">
              <a:latin typeface="+mj-lt"/>
            </a:endParaRPr>
          </a:p>
          <a:p>
            <a:pPr algn="r"/>
            <a:endParaRPr lang="ru-RU" sz="1300" i="1" dirty="0">
              <a:solidFill>
                <a:srgbClr val="C00000"/>
              </a:solidFill>
              <a:latin typeface="+mj-lt"/>
            </a:endParaRPr>
          </a:p>
          <a:p>
            <a:pPr algn="r"/>
            <a:endParaRPr lang="ru-RU" sz="1300" i="1" dirty="0">
              <a:solidFill>
                <a:srgbClr val="C00000"/>
              </a:solidFill>
              <a:latin typeface="+mj-lt"/>
            </a:endParaRPr>
          </a:p>
          <a:p>
            <a:pPr algn="r"/>
            <a:endParaRPr lang="ru-RU" sz="1300" i="1" dirty="0">
              <a:solidFill>
                <a:srgbClr val="C00000"/>
              </a:solidFill>
              <a:latin typeface="+mj-lt"/>
            </a:endParaRPr>
          </a:p>
          <a:p>
            <a:pPr algn="ctr"/>
            <a:r>
              <a:rPr lang="ru-RU" sz="1600" i="1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Показатели согласно оптимистичному прогнозу.</a:t>
            </a:r>
          </a:p>
          <a:p>
            <a:pPr algn="ctr"/>
            <a:r>
              <a:rPr lang="ru-RU" sz="1600" i="1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Потенциал достижим через </a:t>
            </a:r>
            <a:r>
              <a:rPr lang="ru-RU" sz="1600" i="1" dirty="0" smtClean="0">
                <a:solidFill>
                  <a:schemeClr val="bg2">
                    <a:lumMod val="25000"/>
                  </a:schemeClr>
                </a:solidFill>
                <a:latin typeface="+mj-lt"/>
              </a:rPr>
              <a:t>8-10 </a:t>
            </a:r>
            <a:r>
              <a:rPr lang="ru-RU" sz="1600" i="1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лет после выведения всей линейки препаратов на рынок.</a:t>
            </a:r>
          </a:p>
          <a:p>
            <a:pPr algn="ctr"/>
            <a:r>
              <a:rPr lang="ru-RU" sz="1600" i="1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Ожидается, что начальные потребности в Y-90 в первые 3-5 лет после создания производства будут составлять 10-15% процентов от общей потребности</a:t>
            </a:r>
            <a:endParaRPr lang="ru-RU" sz="1300" i="1" dirty="0">
              <a:solidFill>
                <a:srgbClr val="C00000"/>
              </a:solidFill>
              <a:latin typeface="+mj-lt"/>
            </a:endParaRPr>
          </a:p>
          <a:p>
            <a:pPr marL="285750" lvl="1" indent="-285750" algn="l">
              <a:spcAft>
                <a:spcPts val="600"/>
              </a:spcAft>
              <a:buFont typeface="Wingdings" pitchFamily="2" charset="2"/>
              <a:buChar char="Ø"/>
            </a:pPr>
            <a:endParaRPr lang="ru-RU" sz="1300" b="1" dirty="0">
              <a:solidFill>
                <a:srgbClr val="000099"/>
              </a:solidFill>
              <a:latin typeface="+mj-lt"/>
            </a:endParaRPr>
          </a:p>
        </p:txBody>
      </p:sp>
      <p:sp>
        <p:nvSpPr>
          <p:cNvPr id="4" name="Заголовок 1">
            <a:extLst>
              <a:ext uri="{FF2B5EF4-FFF2-40B4-BE49-F238E27FC236}">
                <a16:creationId xmlns="" xmlns:a16="http://schemas.microsoft.com/office/drawing/2014/main" id="{4CF202A1-9E96-4A7E-AE4A-3425994CF549}"/>
              </a:ext>
            </a:extLst>
          </p:cNvPr>
          <p:cNvSpPr txBox="1">
            <a:spLocks/>
          </p:cNvSpPr>
          <p:nvPr/>
        </p:nvSpPr>
        <p:spPr>
          <a:xfrm>
            <a:off x="251520" y="332656"/>
            <a:ext cx="5256584" cy="576064"/>
          </a:xfrm>
          <a:prstGeom prst="rect">
            <a:avLst/>
          </a:prstGeom>
        </p:spPr>
        <p:txBody>
          <a:bodyPr rtlCol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9pPr>
          </a:lstStyle>
          <a:p>
            <a:pPr fontAlgn="auto">
              <a:spcAft>
                <a:spcPts val="600"/>
              </a:spcAft>
              <a:defRPr/>
            </a:pPr>
            <a:r>
              <a:rPr lang="ru-RU" sz="2400" b="1" dirty="0">
                <a:solidFill>
                  <a:srgbClr val="002060"/>
                </a:solidFill>
                <a:effectLst/>
              </a:rPr>
              <a:t>ПОТРЕБНОСТИ В ПРОДУКЦИИ С </a:t>
            </a:r>
            <a:r>
              <a:rPr lang="en-US" sz="2400" b="1" dirty="0">
                <a:solidFill>
                  <a:srgbClr val="002060"/>
                </a:solidFill>
                <a:effectLst/>
              </a:rPr>
              <a:t>Y-90</a:t>
            </a:r>
            <a:endParaRPr lang="ru-RU" sz="2400" b="1" dirty="0">
              <a:solidFill>
                <a:srgbClr val="002060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245063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539552" y="44624"/>
            <a:ext cx="8424936" cy="576064"/>
          </a:xfrm>
          <a:prstGeom prst="rect">
            <a:avLst/>
          </a:prstGeom>
        </p:spPr>
        <p:txBody>
          <a:bodyPr rtlCol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9pPr>
          </a:lstStyle>
          <a:p>
            <a:pPr algn="r" fontAlgn="auto">
              <a:spcAft>
                <a:spcPts val="600"/>
              </a:spcAft>
              <a:defRPr/>
            </a:pPr>
            <a:endParaRPr lang="ru-RU" sz="2400" b="1" dirty="0">
              <a:solidFill>
                <a:srgbClr val="7030A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51520" y="116632"/>
            <a:ext cx="53103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rgbClr val="002060"/>
                </a:solidFill>
                <a:latin typeface="+mj-lt"/>
              </a:rPr>
              <a:t>ЭТАПЫ ФИНАНСИРОВАНИЯ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3853909"/>
              </p:ext>
            </p:extLst>
          </p:nvPr>
        </p:nvGraphicFramePr>
        <p:xfrm>
          <a:off x="107502" y="462759"/>
          <a:ext cx="8856986" cy="617827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832649"/>
                <a:gridCol w="1368151"/>
                <a:gridCol w="1656186"/>
              </a:tblGrid>
              <a:tr h="474439"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Статья расходов</a:t>
                      </a:r>
                      <a:endParaRPr lang="ru-RU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20748" marR="20748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Стоимость этапа,</a:t>
                      </a:r>
                    </a:p>
                    <a:p>
                      <a:pPr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млн. </a:t>
                      </a:r>
                      <a:r>
                        <a:rPr lang="ru-RU" sz="1400" dirty="0" err="1">
                          <a:effectLst/>
                        </a:rPr>
                        <a:t>руб</a:t>
                      </a:r>
                      <a:endParaRPr lang="ru-RU" sz="1400" dirty="0">
                        <a:effectLst/>
                      </a:endParaRPr>
                    </a:p>
                    <a:p>
                      <a:pPr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 </a:t>
                      </a:r>
                      <a:endParaRPr lang="ru-RU" sz="14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20748" marR="20748" marT="0" marB="0" anchor="ctr"/>
                </a:tc>
              </a:tr>
              <a:tr h="499189">
                <a:tc>
                  <a:txBody>
                    <a:bodyPr/>
                    <a:lstStyle/>
                    <a:p>
                      <a:pPr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tx1"/>
                          </a:solidFill>
                          <a:effectLst/>
                        </a:rPr>
                        <a:t>Наименование работ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20748" marR="20748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tx1"/>
                          </a:solidFill>
                          <a:effectLst/>
                        </a:rPr>
                        <a:t>Цена,</a:t>
                      </a:r>
                    </a:p>
                    <a:p>
                      <a:pPr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tx1"/>
                          </a:solidFill>
                          <a:effectLst/>
                        </a:rPr>
                        <a:t>млн. </a:t>
                      </a:r>
                      <a:r>
                        <a:rPr lang="ru-RU" sz="1400" b="1" dirty="0" err="1">
                          <a:solidFill>
                            <a:schemeClr val="tx1"/>
                          </a:solidFill>
                          <a:effectLst/>
                        </a:rPr>
                        <a:t>руб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20748" marR="20748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86674">
                <a:tc gridSpan="3">
                  <a:txBody>
                    <a:bodyPr/>
                    <a:lstStyle/>
                    <a:p>
                      <a:pPr algn="ctr"/>
                      <a:r>
                        <a:rPr lang="ru-RU" sz="135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Этап </a:t>
                      </a:r>
                      <a:r>
                        <a:rPr lang="en-US" sz="135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ru-RU" sz="135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Выполнение НИОКР </a:t>
                      </a:r>
                    </a:p>
                    <a:p>
                      <a:pPr algn="ctr"/>
                      <a:r>
                        <a:rPr lang="ru-RU" sz="135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общий срок 3 года)</a:t>
                      </a:r>
                      <a:endParaRPr lang="ru-RU" sz="12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20748" marR="20748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6023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1.1. Доработка технологии </a:t>
                      </a:r>
                      <a:r>
                        <a:rPr lang="ru-RU" sz="1200" dirty="0" smtClean="0">
                          <a:effectLst/>
                        </a:rPr>
                        <a:t> </a:t>
                      </a:r>
                      <a:r>
                        <a:rPr lang="ru-RU" sz="1200" baseline="30000" dirty="0" smtClean="0">
                          <a:effectLst/>
                        </a:rPr>
                        <a:t>90</a:t>
                      </a:r>
                      <a:r>
                        <a:rPr lang="en-US" sz="1200" dirty="0" err="1">
                          <a:effectLst/>
                        </a:rPr>
                        <a:t>Sr</a:t>
                      </a:r>
                      <a:r>
                        <a:rPr lang="ru-RU" sz="1200" dirty="0">
                          <a:effectLst/>
                        </a:rPr>
                        <a:t>/</a:t>
                      </a:r>
                      <a:r>
                        <a:rPr lang="ru-RU" sz="1200" baseline="30000" dirty="0">
                          <a:effectLst/>
                        </a:rPr>
                        <a:t>90</a:t>
                      </a:r>
                      <a:r>
                        <a:rPr lang="en-US" sz="1200" dirty="0">
                          <a:effectLst/>
                        </a:rPr>
                        <a:t>Y</a:t>
                      </a:r>
                      <a:r>
                        <a:rPr lang="ru-RU" sz="1200" dirty="0">
                          <a:effectLst/>
                        </a:rPr>
                        <a:t> генератора</a:t>
                      </a:r>
                      <a:endParaRPr lang="ru-RU" sz="12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20748" marR="20748" marT="0" marB="0"/>
                </a:tc>
                <a:tc>
                  <a:txBody>
                    <a:bodyPr/>
                    <a:lstStyle/>
                    <a:p>
                      <a:pPr indent="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60</a:t>
                      </a:r>
                      <a:endParaRPr lang="ru-RU" sz="1400" b="1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20748" marR="20748" marT="0" marB="0"/>
                </a:tc>
                <a:tc rowSpan="3">
                  <a:txBody>
                    <a:bodyPr/>
                    <a:lstStyle/>
                    <a:p>
                      <a:pPr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</a:rPr>
                        <a:t>300 </a:t>
                      </a:r>
                      <a:endParaRPr lang="ru-RU" sz="1600" b="1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20748" marR="20748" marT="0" marB="0"/>
                </a:tc>
              </a:tr>
              <a:tr h="254046">
                <a:tc>
                  <a:txBody>
                    <a:bodyPr/>
                    <a:lstStyle/>
                    <a:p>
                      <a:pPr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1.2. Разработка </a:t>
                      </a:r>
                      <a:r>
                        <a:rPr lang="ru-RU" sz="1200" dirty="0" smtClean="0">
                          <a:effectLst/>
                        </a:rPr>
                        <a:t>и </a:t>
                      </a:r>
                      <a:r>
                        <a:rPr lang="ru-RU" sz="1200" dirty="0">
                          <a:effectLst/>
                        </a:rPr>
                        <a:t>регистрация РФП на основе пептида</a:t>
                      </a:r>
                      <a:endParaRPr lang="ru-RU" sz="12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20748" marR="20748" marT="0" marB="0"/>
                </a:tc>
                <a:tc>
                  <a:txBody>
                    <a:bodyPr/>
                    <a:lstStyle/>
                    <a:p>
                      <a:pPr indent="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120</a:t>
                      </a:r>
                      <a:endParaRPr lang="ru-RU" sz="1400" b="1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20748" marR="20748" marT="0" marB="0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36480">
                <a:tc>
                  <a:txBody>
                    <a:bodyPr/>
                    <a:lstStyle/>
                    <a:p>
                      <a:pPr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1.3. Разработка </a:t>
                      </a:r>
                      <a:r>
                        <a:rPr lang="ru-RU" sz="1200" dirty="0" smtClean="0">
                          <a:effectLst/>
                        </a:rPr>
                        <a:t> и </a:t>
                      </a:r>
                      <a:r>
                        <a:rPr lang="ru-RU" sz="1200" dirty="0">
                          <a:effectLst/>
                        </a:rPr>
                        <a:t>регистрация РФП/МИ на основе микросфер </a:t>
                      </a:r>
                      <a:endParaRPr lang="ru-RU" sz="12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20748" marR="20748" marT="0" marB="0"/>
                </a:tc>
                <a:tc>
                  <a:txBody>
                    <a:bodyPr/>
                    <a:lstStyle/>
                    <a:p>
                      <a:pPr indent="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120</a:t>
                      </a:r>
                      <a:endParaRPr lang="ru-RU" sz="1400" b="1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20748" marR="20748" marT="0" marB="0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25230">
                <a:tc gridSpan="3">
                  <a:txBody>
                    <a:bodyPr/>
                    <a:lstStyle/>
                    <a:p>
                      <a:pPr algn="ctr"/>
                      <a:r>
                        <a:rPr lang="ru-RU" sz="135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Этап </a:t>
                      </a:r>
                      <a:r>
                        <a:rPr lang="en-US" sz="135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I</a:t>
                      </a:r>
                      <a:r>
                        <a:rPr lang="ru-RU" sz="135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Создание производственных комплексов и маркетинговые работы </a:t>
                      </a:r>
                    </a:p>
                    <a:p>
                      <a:pPr algn="ctr"/>
                      <a:r>
                        <a:rPr lang="ru-RU" sz="135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общий срок 5 лет)</a:t>
                      </a:r>
                      <a:endParaRPr lang="ru-RU" sz="1200" b="1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20748" marR="20748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10689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2.1. Создание производственного комплекса</a:t>
                      </a:r>
                      <a:endParaRPr lang="ru-RU" sz="1200" b="1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20748" marR="20748" marT="0" marB="0"/>
                </a:tc>
                <a:tc>
                  <a:txBody>
                    <a:bodyPr/>
                    <a:lstStyle/>
                    <a:p>
                      <a:pPr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800 </a:t>
                      </a:r>
                      <a:endParaRPr lang="ru-RU" sz="1400" b="1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20748" marR="20748" marT="0" marB="0"/>
                </a:tc>
                <a:tc rowSpan="7">
                  <a:txBody>
                    <a:bodyPr/>
                    <a:lstStyle/>
                    <a:p>
                      <a:pPr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</a:rPr>
                        <a:t>850</a:t>
                      </a:r>
                      <a:endParaRPr lang="ru-RU" sz="1600" b="1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20748" marR="20748" marT="0" marB="0"/>
                </a:tc>
              </a:tr>
              <a:tr h="289524">
                <a:tc>
                  <a:txBody>
                    <a:bodyPr/>
                    <a:lstStyle/>
                    <a:p>
                      <a:pPr indent="0" algn="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ru-RU" sz="1200" dirty="0" err="1">
                          <a:effectLst/>
                        </a:rPr>
                        <a:t>Предпроектные</a:t>
                      </a:r>
                      <a:r>
                        <a:rPr lang="ru-RU" sz="1200" dirty="0">
                          <a:effectLst/>
                        </a:rPr>
                        <a:t> работы</a:t>
                      </a:r>
                      <a:endParaRPr lang="ru-RU" sz="12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20748" marR="20748" marT="0" marB="0"/>
                </a:tc>
                <a:tc>
                  <a:txBody>
                    <a:bodyPr/>
                    <a:lstStyle/>
                    <a:p>
                      <a:pPr indent="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0</a:t>
                      </a:r>
                      <a:endParaRPr lang="ru-RU" sz="140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20748" marR="20748" marT="0" marB="0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27877">
                <a:tc>
                  <a:txBody>
                    <a:bodyPr/>
                    <a:lstStyle/>
                    <a:p>
                      <a:pPr indent="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Проектно-изыскательские </a:t>
                      </a:r>
                      <a:r>
                        <a:rPr lang="ru-RU" sz="1200" dirty="0">
                          <a:effectLst/>
                        </a:rPr>
                        <a:t>работы</a:t>
                      </a:r>
                      <a:endParaRPr lang="ru-RU" sz="12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20748" marR="20748" marT="0" marB="0"/>
                </a:tc>
                <a:tc>
                  <a:txBody>
                    <a:bodyPr/>
                    <a:lstStyle/>
                    <a:p>
                      <a:pPr indent="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40</a:t>
                      </a:r>
                      <a:endParaRPr lang="ru-RU" sz="140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20748" marR="20748" marT="0" marB="0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43316">
                <a:tc>
                  <a:txBody>
                    <a:bodyPr/>
                    <a:lstStyle/>
                    <a:p>
                      <a:pPr indent="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троительно-монтажные</a:t>
                      </a:r>
                    </a:p>
                    <a:p>
                      <a:pPr indent="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 работы (включая инженерное оборудование, </a:t>
                      </a:r>
                      <a:endParaRPr lang="ru-RU" sz="1200" dirty="0" smtClean="0">
                        <a:effectLst/>
                      </a:endParaRPr>
                    </a:p>
                    <a:p>
                      <a:pPr indent="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 smtClean="0">
                          <a:effectLst/>
                        </a:rPr>
                        <a:t>спецвентиляцию</a:t>
                      </a:r>
                      <a:r>
                        <a:rPr lang="ru-RU" sz="1200" dirty="0" smtClean="0">
                          <a:effectLst/>
                        </a:rPr>
                        <a:t> </a:t>
                      </a:r>
                      <a:r>
                        <a:rPr lang="ru-RU" sz="1200" dirty="0">
                          <a:effectLst/>
                        </a:rPr>
                        <a:t>и оснащение «чистых» помещений)</a:t>
                      </a:r>
                      <a:endParaRPr lang="ru-RU" sz="12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20748" marR="20748" marT="0" marB="0"/>
                </a:tc>
                <a:tc>
                  <a:txBody>
                    <a:bodyPr/>
                    <a:lstStyle/>
                    <a:p>
                      <a:pPr indent="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450 </a:t>
                      </a:r>
                      <a:endParaRPr lang="ru-RU" sz="140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20748" marR="20748" marT="0" marB="0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44546">
                <a:tc>
                  <a:txBody>
                    <a:bodyPr/>
                    <a:lstStyle/>
                    <a:p>
                      <a:pPr indent="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Оборудование </a:t>
                      </a:r>
                    </a:p>
                    <a:p>
                      <a:pPr indent="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(включая пуско-наладку)</a:t>
                      </a:r>
                      <a:endParaRPr lang="ru-RU" sz="12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20748" marR="20748" marT="0" marB="0"/>
                </a:tc>
                <a:tc>
                  <a:txBody>
                    <a:bodyPr/>
                    <a:lstStyle/>
                    <a:p>
                      <a:pPr indent="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30 </a:t>
                      </a:r>
                      <a:endParaRPr lang="ru-RU" sz="140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20748" marR="20748" marT="0" marB="0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47541">
                <a:tc>
                  <a:txBody>
                    <a:bodyPr/>
                    <a:lstStyle/>
                    <a:p>
                      <a:pPr indent="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Лицензирование объекта, сертификация производств,  подготовка персонала</a:t>
                      </a:r>
                      <a:endParaRPr lang="ru-RU" sz="1200" b="1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20748" marR="20748" marT="0" marB="0"/>
                </a:tc>
                <a:tc>
                  <a:txBody>
                    <a:bodyPr/>
                    <a:lstStyle/>
                    <a:p>
                      <a:pPr indent="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</a:rPr>
                        <a:t>60</a:t>
                      </a:r>
                      <a:endParaRPr lang="ru-RU" sz="1400" b="1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20748" marR="20748" marT="0" marB="0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23645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2.2 Маркетинговые работы по продвижению продукции</a:t>
                      </a:r>
                      <a:endParaRPr lang="ru-RU" sz="1200" b="1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20748" marR="20748" marT="0" marB="0"/>
                </a:tc>
                <a:tc>
                  <a:txBody>
                    <a:bodyPr/>
                    <a:lstStyle/>
                    <a:p>
                      <a:pPr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50</a:t>
                      </a:r>
                      <a:endParaRPr lang="ru-RU" sz="14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20748" marR="20748" marT="0" marB="0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54298">
                <a:tc>
                  <a:txBody>
                    <a:bodyPr/>
                    <a:lstStyle/>
                    <a:p>
                      <a:pPr indent="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smtClean="0">
                          <a:effectLst/>
                        </a:rPr>
                        <a:t>Итого</a:t>
                      </a:r>
                      <a:endParaRPr lang="ru-RU" sz="1800" b="1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20748" marR="20748" marT="0" marB="0"/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solidFill>
                            <a:srgbClr val="C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1 150</a:t>
                      </a:r>
                      <a:endParaRPr lang="ru-RU" sz="1800" b="1" dirty="0" smtClean="0">
                        <a:solidFill>
                          <a:srgbClr val="C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"/>
                        <a:ea typeface="MS Mincho"/>
                        <a:cs typeface="Times New Roman"/>
                      </a:endParaRPr>
                    </a:p>
                    <a:p>
                      <a:pPr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20748" marR="20748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20748" marR="20748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75673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539552" y="44624"/>
            <a:ext cx="8424936" cy="576064"/>
          </a:xfrm>
          <a:prstGeom prst="rect">
            <a:avLst/>
          </a:prstGeom>
        </p:spPr>
        <p:txBody>
          <a:bodyPr rtlCol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Verdana" pitchFamily="34" charset="0"/>
              </a:defRPr>
            </a:lvl9pPr>
          </a:lstStyle>
          <a:p>
            <a:pPr algn="r" fontAlgn="auto">
              <a:spcAft>
                <a:spcPts val="600"/>
              </a:spcAft>
              <a:defRPr/>
            </a:pPr>
            <a:endParaRPr lang="ru-RU" sz="2400" b="1" dirty="0">
              <a:solidFill>
                <a:srgbClr val="7030A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79512" y="44624"/>
            <a:ext cx="835292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  <a:latin typeface="+mj-lt"/>
              </a:rPr>
              <a:t>ПРЕДВАРИТЕЛЬНАЯ ОЦЕНКА </a:t>
            </a:r>
            <a:r>
              <a:rPr lang="ru-RU" sz="2400" b="1" dirty="0" smtClean="0">
                <a:solidFill>
                  <a:srgbClr val="002060"/>
                </a:solidFill>
                <a:latin typeface="+mj-lt"/>
              </a:rPr>
              <a:t>ПРОДАЖ ПРОДУКЦИИ</a:t>
            </a:r>
            <a:endParaRPr lang="ru-RU" sz="2400" dirty="0">
              <a:solidFill>
                <a:srgbClr val="002060"/>
              </a:solidFill>
              <a:latin typeface="+mj-lt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0428136"/>
              </p:ext>
            </p:extLst>
          </p:nvPr>
        </p:nvGraphicFramePr>
        <p:xfrm>
          <a:off x="0" y="764704"/>
          <a:ext cx="9108504" cy="5846598"/>
        </p:xfrm>
        <a:graphic>
          <a:graphicData uri="http://schemas.openxmlformats.org/drawingml/2006/table">
            <a:tbl>
              <a:tblPr>
                <a:tableStyleId>{F5AB1C69-6EDB-4FF4-983F-18BD219EF322}</a:tableStyleId>
              </a:tblPr>
              <a:tblGrid>
                <a:gridCol w="26004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1607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7523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36737"/>
                <a:gridCol w="93673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36737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936737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936737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936737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936737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</a:tblGrid>
              <a:tr h="340833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</a:rPr>
                        <a:t>ПРЕПАРАТ</a:t>
                      </a:r>
                      <a:endParaRPr lang="ru-RU" sz="1400" b="1" dirty="0">
                        <a:solidFill>
                          <a:schemeClr val="accent2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400" b="1" dirty="0">
                        <a:solidFill>
                          <a:schemeClr val="accent2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964" marR="2964" marT="2964" marB="0" anchor="ctr"/>
                </a:tc>
                <a:tc gridSpan="6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</a:rPr>
                        <a:t>НАЧАЛО ПРОДАЖ, ГОДЫ</a:t>
                      </a:r>
                      <a:endParaRPr lang="ru-RU" sz="1400" b="1" dirty="0">
                        <a:solidFill>
                          <a:schemeClr val="accent2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964" marR="2964" marT="2964" marB="0"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2964" marR="2964" marT="2964" marB="0"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2964" marR="2964" marT="2964" marB="0"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2964" marR="2964" marT="2964" marB="0"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2964" marR="2964" marT="2964" marB="0"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2964" marR="2964" marT="2964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099327"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50" b="1" dirty="0">
                          <a:effectLst/>
                        </a:rPr>
                        <a:t>НАИМЕНОВАНИЕ</a:t>
                      </a:r>
                      <a:endParaRPr lang="ru-RU" sz="1050" b="1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50" b="1" dirty="0">
                          <a:effectLst/>
                        </a:rPr>
                        <a:t>ЦЕНА</a:t>
                      </a:r>
                      <a:br>
                        <a:rPr lang="ru-RU" sz="1050" b="1" dirty="0">
                          <a:effectLst/>
                        </a:rPr>
                      </a:br>
                      <a:r>
                        <a:rPr lang="ru-RU" sz="1000" b="1" dirty="0">
                          <a:effectLst/>
                        </a:rPr>
                        <a:t>(за 1 Ки для ФС,</a:t>
                      </a:r>
                      <a:br>
                        <a:rPr lang="ru-RU" sz="1000" b="1" dirty="0">
                          <a:effectLst/>
                        </a:rPr>
                      </a:br>
                      <a:r>
                        <a:rPr lang="ru-RU" sz="1000" b="1" dirty="0">
                          <a:effectLst/>
                        </a:rPr>
                        <a:t>за 1 дозу для РФП/МИ),</a:t>
                      </a:r>
                      <a:br>
                        <a:rPr lang="ru-RU" sz="1000" b="1" dirty="0">
                          <a:effectLst/>
                        </a:rPr>
                      </a:br>
                      <a:r>
                        <a:rPr lang="ru-RU" sz="1050" b="1" dirty="0">
                          <a:effectLst/>
                        </a:rPr>
                        <a:t>тыс. </a:t>
                      </a:r>
                      <a:r>
                        <a:rPr lang="ru-RU" sz="1050" b="1" dirty="0" err="1">
                          <a:effectLst/>
                        </a:rPr>
                        <a:t>руб</a:t>
                      </a:r>
                      <a:endParaRPr lang="ru-RU" sz="1050" b="1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964" marR="2964" marT="2964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Поставки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964" marR="2964" marT="2964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50" b="1" dirty="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964" marR="2964" marT="2964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50" b="1" dirty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964" marR="2964" marT="2964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50" b="1" dirty="0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964" marR="2964" marT="2964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50" b="1" dirty="0">
                          <a:solidFill>
                            <a:schemeClr val="tx1"/>
                          </a:solidFill>
                          <a:effectLst/>
                        </a:rPr>
                        <a:t>7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964" marR="2964" marT="2964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50" b="1" dirty="0">
                          <a:solidFill>
                            <a:schemeClr val="tx1"/>
                          </a:solidFill>
                          <a:effectLst/>
                        </a:rPr>
                        <a:t>9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964" marR="2964" marT="2964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50" b="1" dirty="0">
                          <a:effectLst/>
                        </a:rPr>
                        <a:t>10</a:t>
                      </a:r>
                      <a:endParaRPr lang="ru-RU" sz="1050" b="1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964" marR="2964" marT="2964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30615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50">
                          <a:effectLst/>
                        </a:rPr>
                        <a:t>1</a:t>
                      </a:r>
                      <a:endParaRPr lang="ru-RU" sz="105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50" dirty="0">
                          <a:effectLst/>
                        </a:rPr>
                        <a:t>Фармацевтическая субстанция с</a:t>
                      </a:r>
                      <a:r>
                        <a:rPr lang="ru-RU" sz="1050" baseline="0" dirty="0">
                          <a:effectLst/>
                        </a:rPr>
                        <a:t> </a:t>
                      </a:r>
                      <a:r>
                        <a:rPr lang="ru-RU" sz="1050" dirty="0">
                          <a:effectLst/>
                        </a:rPr>
                        <a:t>Y-90</a:t>
                      </a:r>
                      <a:endParaRPr lang="ru-RU" sz="1050" b="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100" b="0" i="0" u="none" strike="noStrike" kern="1200" dirty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70</a:t>
                      </a:r>
                    </a:p>
                  </a:txBody>
                  <a:tcPr marL="2964" marR="2964" marT="2964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Активность, Ки</a:t>
                      </a:r>
                      <a:endParaRPr lang="ru-RU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0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5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0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90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00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3061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Сумма,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тыс. </a:t>
                      </a:r>
                      <a:r>
                        <a:rPr lang="ru-RU" sz="11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руб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</a:rPr>
                        <a:t>2 850</a:t>
                      </a:r>
                      <a:endParaRPr lang="ru-RU" sz="1100" b="0" i="0" u="none" strike="noStrike" dirty="0">
                        <a:solidFill>
                          <a:srgbClr val="003399"/>
                        </a:solidFill>
                        <a:effectLst/>
                        <a:latin typeface="Calibri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</a:rPr>
                        <a:t>5 700</a:t>
                      </a:r>
                      <a:endParaRPr lang="ru-RU" sz="1100" b="0" i="0" u="none" strike="noStrike" dirty="0">
                        <a:solidFill>
                          <a:srgbClr val="003399"/>
                        </a:solidFill>
                        <a:effectLst/>
                        <a:latin typeface="Calibri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</a:rPr>
                        <a:t>8 550</a:t>
                      </a:r>
                      <a:endParaRPr lang="ru-RU" sz="1100" b="0" i="0" u="none" strike="noStrike" dirty="0">
                        <a:solidFill>
                          <a:srgbClr val="003399"/>
                        </a:solidFill>
                        <a:effectLst/>
                        <a:latin typeface="Calibri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8 500</a:t>
                      </a:r>
                      <a:endParaRPr lang="ru-RU" sz="1100" b="0" i="0" u="none" strike="noStrike" kern="1200" dirty="0">
                        <a:solidFill>
                          <a:srgbClr val="00339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</a:rPr>
                        <a:t>51 300</a:t>
                      </a:r>
                      <a:endParaRPr lang="ru-RU" sz="1100" b="0" i="0" u="none" strike="noStrike" dirty="0">
                        <a:solidFill>
                          <a:srgbClr val="003399"/>
                        </a:solidFill>
                        <a:effectLst/>
                        <a:latin typeface="Calibri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</a:rPr>
                        <a:t>57 000</a:t>
                      </a:r>
                      <a:endParaRPr lang="ru-RU" sz="1100" b="0" i="0" u="none" strike="noStrike" dirty="0">
                        <a:solidFill>
                          <a:srgbClr val="003399"/>
                        </a:solidFill>
                        <a:effectLst/>
                        <a:latin typeface="Calibri"/>
                      </a:endParaRPr>
                    </a:p>
                  </a:txBody>
                  <a:tcPr marL="4763" marR="4763" marT="4763" marB="0" anchor="ctr"/>
                </a:tc>
              </a:tr>
              <a:tr h="184023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50">
                          <a:effectLst/>
                        </a:rPr>
                        <a:t>2</a:t>
                      </a:r>
                      <a:endParaRPr lang="ru-RU" sz="105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50" dirty="0">
                          <a:effectLst/>
                        </a:rPr>
                        <a:t>Препарат на основе </a:t>
                      </a:r>
                      <a:r>
                        <a:rPr lang="ru-RU" sz="1050" dirty="0" err="1">
                          <a:effectLst/>
                        </a:rPr>
                        <a:t>моноклональных</a:t>
                      </a:r>
                      <a:r>
                        <a:rPr lang="ru-RU" sz="1050" dirty="0">
                          <a:effectLst/>
                        </a:rPr>
                        <a:t> антител </a:t>
                      </a:r>
                      <a:endParaRPr lang="ru-RU" sz="1050" b="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100" b="0" i="0" u="none" strike="noStrike" kern="1200" dirty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2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Дозы</a:t>
                      </a:r>
                      <a:endParaRPr lang="ru-RU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05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10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315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050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890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100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8402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умма,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тыс. </a:t>
                      </a:r>
                      <a:r>
                        <a:rPr lang="ru-RU" sz="11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руб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100" b="0" i="0" u="none" strike="noStrike" kern="1200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3 100</a:t>
                      </a:r>
                      <a:endParaRPr lang="ru-RU" sz="1100" b="0" i="0" u="none" strike="noStrike" kern="1200" dirty="0">
                        <a:solidFill>
                          <a:srgbClr val="00339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100" b="0" i="0" u="none" strike="noStrike" kern="1200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46 200</a:t>
                      </a:r>
                      <a:endParaRPr lang="ru-RU" sz="1100" b="0" i="0" u="none" strike="noStrike" kern="1200" dirty="0">
                        <a:solidFill>
                          <a:srgbClr val="00339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100" b="0" i="0" u="none" strike="noStrike" kern="1200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9 300</a:t>
                      </a:r>
                      <a:endParaRPr lang="ru-RU" sz="1100" b="0" i="0" u="none" strike="noStrike" kern="1200" dirty="0">
                        <a:solidFill>
                          <a:srgbClr val="00339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100" b="0" i="0" u="none" strike="noStrike" kern="1200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31 000</a:t>
                      </a:r>
                      <a:endParaRPr lang="ru-RU" sz="1100" b="0" i="0" u="none" strike="noStrike" kern="1200" dirty="0">
                        <a:solidFill>
                          <a:srgbClr val="00339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100" b="0" i="0" u="none" strike="noStrike" kern="1200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415 800</a:t>
                      </a:r>
                      <a:endParaRPr lang="ru-RU" sz="1100" b="0" i="0" u="none" strike="noStrike" kern="1200" dirty="0">
                        <a:solidFill>
                          <a:srgbClr val="00339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100" b="0" i="0" u="none" strike="noStrike" kern="1200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462 000</a:t>
                      </a:r>
                      <a:endParaRPr lang="ru-RU" sz="1100" b="0" i="0" u="none" strike="noStrike" kern="1200" dirty="0">
                        <a:solidFill>
                          <a:srgbClr val="00339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</a:tr>
              <a:tr h="460058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50">
                          <a:effectLst/>
                        </a:rPr>
                        <a:t>3</a:t>
                      </a:r>
                      <a:endParaRPr lang="ru-RU" sz="105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50" dirty="0">
                          <a:effectLst/>
                        </a:rPr>
                        <a:t>Препарат на основе синтетического пептидного аналога </a:t>
                      </a:r>
                      <a:r>
                        <a:rPr lang="ru-RU" sz="1050" dirty="0" err="1">
                          <a:effectLst/>
                        </a:rPr>
                        <a:t>соматостатина</a:t>
                      </a:r>
                      <a:r>
                        <a:rPr lang="ru-RU" sz="1050" dirty="0">
                          <a:effectLst/>
                        </a:rPr>
                        <a:t> (</a:t>
                      </a:r>
                      <a:r>
                        <a:rPr lang="ru-RU" sz="1050" dirty="0" err="1">
                          <a:effectLst/>
                        </a:rPr>
                        <a:t>октреотида</a:t>
                      </a:r>
                      <a:r>
                        <a:rPr lang="ru-RU" sz="1050" dirty="0">
                          <a:effectLst/>
                        </a:rPr>
                        <a:t>). </a:t>
                      </a:r>
                      <a:endParaRPr lang="ru-RU" sz="1050" b="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100" b="0" i="0" u="none" strike="noStrike" kern="1200" dirty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2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Дозы</a:t>
                      </a:r>
                      <a:endParaRPr lang="ru-RU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58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315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472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575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835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3150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6005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умма,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тыс. </a:t>
                      </a:r>
                      <a:r>
                        <a:rPr lang="ru-RU" sz="11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руб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8 900</a:t>
                      </a:r>
                      <a:endParaRPr lang="ru-RU" sz="1100" b="0" i="0" u="none" strike="noStrike" kern="1200" dirty="0">
                        <a:solidFill>
                          <a:srgbClr val="00339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37 800</a:t>
                      </a:r>
                      <a:endParaRPr lang="ru-RU" sz="1100" b="0" i="0" u="none" strike="noStrike" kern="1200" dirty="0">
                        <a:solidFill>
                          <a:srgbClr val="00339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6 700</a:t>
                      </a:r>
                      <a:endParaRPr lang="ru-RU" sz="1100" b="0" i="0" u="none" strike="noStrike" kern="1200" dirty="0">
                        <a:solidFill>
                          <a:srgbClr val="00339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89 000</a:t>
                      </a:r>
                      <a:endParaRPr lang="ru-RU" sz="1100" b="0" i="0" u="none" strike="noStrike" kern="1200" dirty="0">
                        <a:solidFill>
                          <a:srgbClr val="00339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340 200</a:t>
                      </a:r>
                      <a:endParaRPr lang="ru-RU" sz="1100" b="0" i="0" u="none" strike="noStrike" kern="1200" dirty="0">
                        <a:solidFill>
                          <a:srgbClr val="00339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378 000</a:t>
                      </a:r>
                      <a:endParaRPr lang="ru-RU" sz="1100" b="0" i="0" u="none" strike="noStrike" kern="1200" dirty="0">
                        <a:solidFill>
                          <a:srgbClr val="00339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</a:tr>
              <a:tr h="197263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50">
                          <a:effectLst/>
                        </a:rPr>
                        <a:t>4</a:t>
                      </a:r>
                      <a:endParaRPr lang="ru-RU" sz="105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50" dirty="0">
                          <a:effectLst/>
                        </a:rPr>
                        <a:t>Полимерные микросферы</a:t>
                      </a:r>
                      <a:r>
                        <a:rPr lang="ru-RU" sz="1050" baseline="0" dirty="0">
                          <a:effectLst/>
                        </a:rPr>
                        <a:t> с </a:t>
                      </a:r>
                      <a:r>
                        <a:rPr lang="ru-RU" sz="1050" dirty="0">
                          <a:effectLst/>
                        </a:rPr>
                        <a:t> генераторным Y-90 </a:t>
                      </a:r>
                      <a:endParaRPr lang="ru-RU" sz="1050" b="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100" b="0" i="0" u="none" strike="noStrike" kern="1200" dirty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7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Дозы</a:t>
                      </a:r>
                      <a:endParaRPr lang="ru-RU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3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05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58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25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945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050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8402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умма,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тыс. </a:t>
                      </a:r>
                      <a:r>
                        <a:rPr lang="ru-RU" sz="11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руб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8 925</a:t>
                      </a:r>
                      <a:endParaRPr lang="ru-RU" sz="1100" b="0" i="0" u="none" strike="noStrike" kern="1200" dirty="0">
                        <a:solidFill>
                          <a:srgbClr val="00339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7 850</a:t>
                      </a:r>
                      <a:endParaRPr lang="ru-RU" sz="1100" b="0" i="0" u="none" strike="noStrike" kern="1200" dirty="0">
                        <a:solidFill>
                          <a:srgbClr val="00339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6 775</a:t>
                      </a:r>
                      <a:endParaRPr lang="ru-RU" sz="1100" b="0" i="0" u="none" strike="noStrike" kern="1200" dirty="0">
                        <a:solidFill>
                          <a:srgbClr val="00339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89 250</a:t>
                      </a:r>
                      <a:endParaRPr lang="ru-RU" sz="1100" b="0" i="0" u="none" strike="noStrike" kern="1200" dirty="0">
                        <a:solidFill>
                          <a:srgbClr val="00339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60 650</a:t>
                      </a:r>
                      <a:endParaRPr lang="ru-RU" sz="1100" b="0" i="0" u="none" strike="noStrike" kern="1200" dirty="0">
                        <a:solidFill>
                          <a:srgbClr val="00339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78 500</a:t>
                      </a:r>
                      <a:endParaRPr lang="ru-RU" sz="1100" b="0" i="0" u="none" strike="noStrike" kern="1200" dirty="0">
                        <a:solidFill>
                          <a:srgbClr val="00339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</a:tr>
              <a:tr h="169971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50">
                          <a:effectLst/>
                        </a:rPr>
                        <a:t>5</a:t>
                      </a:r>
                      <a:endParaRPr lang="ru-RU" sz="105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</a:rPr>
                        <a:t>Y-90 </a:t>
                      </a:r>
                      <a:r>
                        <a:rPr lang="ru-RU" sz="1050" dirty="0">
                          <a:effectLst/>
                        </a:rPr>
                        <a:t>коллоид </a:t>
                      </a:r>
                      <a:endParaRPr lang="ru-RU" sz="1050" b="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100" b="0" i="0" u="none" strike="noStrike" kern="1200" dirty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Дозы</a:t>
                      </a:r>
                      <a:endParaRPr lang="ru-RU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0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00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50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00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900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000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6997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умма,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тыс. </a:t>
                      </a:r>
                      <a:r>
                        <a:rPr lang="ru-RU" sz="11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руб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 500</a:t>
                      </a:r>
                      <a:endParaRPr lang="ru-RU" sz="1100" b="0" i="0" u="none" strike="noStrike" kern="1200" dirty="0">
                        <a:solidFill>
                          <a:srgbClr val="00339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 000</a:t>
                      </a:r>
                      <a:endParaRPr lang="ru-RU" sz="1100" b="0" i="0" u="none" strike="noStrike" kern="1200" dirty="0">
                        <a:solidFill>
                          <a:srgbClr val="00339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7 500</a:t>
                      </a:r>
                      <a:endParaRPr lang="ru-RU" sz="1100" b="0" i="0" u="none" strike="noStrike" kern="1200" dirty="0">
                        <a:solidFill>
                          <a:srgbClr val="00339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5 000</a:t>
                      </a:r>
                      <a:endParaRPr lang="ru-RU" sz="1100" b="0" i="0" u="none" strike="noStrike" kern="1200" dirty="0">
                        <a:solidFill>
                          <a:srgbClr val="00339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45 000</a:t>
                      </a:r>
                      <a:endParaRPr lang="ru-RU" sz="1100" b="0" i="0" u="none" strike="noStrike" kern="1200" dirty="0">
                        <a:solidFill>
                          <a:srgbClr val="00339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0 000</a:t>
                      </a:r>
                      <a:endParaRPr lang="ru-RU" sz="1100" b="0" i="0" u="none" strike="noStrike" kern="1200" dirty="0">
                        <a:solidFill>
                          <a:srgbClr val="00339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</a:tr>
              <a:tr h="276035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50">
                          <a:effectLst/>
                        </a:rPr>
                        <a:t>6</a:t>
                      </a:r>
                      <a:endParaRPr lang="ru-RU" sz="105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50" dirty="0">
                          <a:effectLst/>
                        </a:rPr>
                        <a:t>Высокоселективный препарат для молочной железы</a:t>
                      </a:r>
                      <a:endParaRPr lang="ru-RU" sz="1050" b="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100" b="0" i="0" u="none" strike="noStrike" kern="1200" dirty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2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Дозы</a:t>
                      </a:r>
                      <a:endParaRPr lang="ru-RU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3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05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58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25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945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050</a:t>
                      </a:r>
                      <a:endParaRPr lang="ru-RU" sz="1100" b="0" i="0" u="none" strike="noStrike" kern="1200" dirty="0">
                        <a:solidFill>
                          <a:srgbClr val="C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7603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умма,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тыс. </a:t>
                      </a:r>
                      <a:r>
                        <a:rPr lang="ru-RU" sz="11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руб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 300</a:t>
                      </a:r>
                      <a:endParaRPr lang="ru-RU" sz="1100" b="0" i="0" u="none" strike="noStrike" kern="1200" dirty="0">
                        <a:solidFill>
                          <a:srgbClr val="00339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3150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47 250</a:t>
                      </a:r>
                      <a:endParaRPr lang="ru-RU" sz="1100" b="0" i="0" u="none" strike="noStrike" kern="1200" dirty="0">
                        <a:solidFill>
                          <a:srgbClr val="00339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57 500</a:t>
                      </a:r>
                      <a:endParaRPr lang="ru-RU" sz="1100" b="0" i="0" u="none" strike="noStrike" kern="1200" dirty="0">
                        <a:solidFill>
                          <a:srgbClr val="00339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83 500</a:t>
                      </a:r>
                      <a:endParaRPr lang="ru-RU" sz="1100" b="0" i="0" u="none" strike="noStrike" kern="1200" dirty="0">
                        <a:solidFill>
                          <a:srgbClr val="00339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315 000</a:t>
                      </a:r>
                      <a:endParaRPr lang="ru-RU" sz="1100" b="0" i="0" u="none" strike="noStrike" kern="1200" dirty="0">
                        <a:solidFill>
                          <a:srgbClr val="003399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</a:tr>
              <a:tr h="362884">
                <a:tc gridSpan="4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50" b="1" dirty="0">
                          <a:effectLst/>
                        </a:rPr>
                        <a:t>Итого за год, тыс. </a:t>
                      </a:r>
                      <a:r>
                        <a:rPr lang="ru-RU" sz="1050" b="1" dirty="0" err="1">
                          <a:effectLst/>
                        </a:rPr>
                        <a:t>руб</a:t>
                      </a:r>
                      <a:endParaRPr lang="ru-RU" sz="1050" b="1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62 575</a:t>
                      </a:r>
                      <a:endParaRPr lang="ru-RU" sz="1100" dirty="0">
                        <a:solidFill>
                          <a:srgbClr val="003399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144 050</a:t>
                      </a:r>
                      <a:endParaRPr lang="ru-RU" sz="1100" dirty="0">
                        <a:solidFill>
                          <a:srgbClr val="003399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216 075</a:t>
                      </a:r>
                      <a:endParaRPr lang="ru-RU" sz="1100" dirty="0">
                        <a:solidFill>
                          <a:srgbClr val="003399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720 250</a:t>
                      </a:r>
                      <a:endParaRPr lang="ru-RU" sz="1100" dirty="0">
                        <a:solidFill>
                          <a:srgbClr val="003399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1 296 450</a:t>
                      </a:r>
                      <a:endParaRPr lang="ru-RU" sz="1100" dirty="0">
                        <a:solidFill>
                          <a:srgbClr val="003399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1 440 500</a:t>
                      </a:r>
                      <a:endParaRPr lang="ru-RU" sz="1100" dirty="0">
                        <a:solidFill>
                          <a:srgbClr val="003399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62884">
                <a:tc gridSpan="4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50" b="1" dirty="0">
                          <a:effectLst/>
                        </a:rPr>
                        <a:t>Итого за весь период, тыс. </a:t>
                      </a:r>
                      <a:r>
                        <a:rPr lang="ru-RU" sz="1050" b="1" dirty="0" err="1">
                          <a:effectLst/>
                        </a:rPr>
                        <a:t>руб</a:t>
                      </a:r>
                      <a:endParaRPr lang="ru-RU" sz="1050" b="1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62 575</a:t>
                      </a:r>
                      <a:endParaRPr lang="ru-RU" sz="1400" dirty="0">
                        <a:solidFill>
                          <a:srgbClr val="003399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321 865</a:t>
                      </a:r>
                      <a:endParaRPr lang="ru-RU" sz="1400" dirty="0">
                        <a:solidFill>
                          <a:srgbClr val="003399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710 800</a:t>
                      </a:r>
                      <a:endParaRPr lang="ru-RU" sz="1400" dirty="0">
                        <a:solidFill>
                          <a:srgbClr val="003399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1 719 150</a:t>
                      </a:r>
                      <a:endParaRPr lang="ru-RU" sz="1400" dirty="0">
                        <a:solidFill>
                          <a:srgbClr val="003399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4 023 950</a:t>
                      </a:r>
                      <a:endParaRPr lang="ru-RU" sz="1400" dirty="0">
                        <a:solidFill>
                          <a:srgbClr val="003399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5 464 450</a:t>
                      </a:r>
                      <a:endParaRPr lang="ru-RU" sz="1400" dirty="0">
                        <a:solidFill>
                          <a:srgbClr val="003399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56052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5" name="Text Box 3"/>
          <p:cNvSpPr txBox="1">
            <a:spLocks noChangeArrowheads="1"/>
          </p:cNvSpPr>
          <p:nvPr/>
        </p:nvSpPr>
        <p:spPr bwMode="auto">
          <a:xfrm>
            <a:off x="1508125" y="10223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26" name="Text Box 4"/>
          <p:cNvSpPr txBox="1">
            <a:spLocks noChangeArrowheads="1"/>
          </p:cNvSpPr>
          <p:nvPr/>
        </p:nvSpPr>
        <p:spPr bwMode="auto">
          <a:xfrm>
            <a:off x="746125" y="9461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27" name="Text Box 5"/>
          <p:cNvSpPr txBox="1">
            <a:spLocks noChangeArrowheads="1"/>
          </p:cNvSpPr>
          <p:nvPr/>
        </p:nvSpPr>
        <p:spPr bwMode="auto">
          <a:xfrm>
            <a:off x="8670925" y="2603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28" name="Text Box 6"/>
          <p:cNvSpPr txBox="1">
            <a:spLocks noChangeArrowheads="1"/>
          </p:cNvSpPr>
          <p:nvPr/>
        </p:nvSpPr>
        <p:spPr bwMode="auto">
          <a:xfrm>
            <a:off x="5546725" y="30035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29" name="Text Box 7"/>
          <p:cNvSpPr txBox="1">
            <a:spLocks noChangeArrowheads="1"/>
          </p:cNvSpPr>
          <p:nvPr/>
        </p:nvSpPr>
        <p:spPr bwMode="auto">
          <a:xfrm>
            <a:off x="898525" y="54419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31" name="Text Box 9"/>
          <p:cNvSpPr txBox="1">
            <a:spLocks noChangeArrowheads="1"/>
          </p:cNvSpPr>
          <p:nvPr/>
        </p:nvSpPr>
        <p:spPr bwMode="auto">
          <a:xfrm>
            <a:off x="3641725" y="3365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33" name="Text Box 11"/>
          <p:cNvSpPr txBox="1">
            <a:spLocks noChangeArrowheads="1"/>
          </p:cNvSpPr>
          <p:nvPr/>
        </p:nvSpPr>
        <p:spPr bwMode="auto">
          <a:xfrm>
            <a:off x="5394325" y="23939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34" name="Text Box 12"/>
          <p:cNvSpPr txBox="1">
            <a:spLocks noChangeArrowheads="1"/>
          </p:cNvSpPr>
          <p:nvPr/>
        </p:nvSpPr>
        <p:spPr bwMode="auto">
          <a:xfrm>
            <a:off x="822325" y="8699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35" name="Text Box 14"/>
          <p:cNvSpPr txBox="1">
            <a:spLocks noChangeArrowheads="1"/>
          </p:cNvSpPr>
          <p:nvPr/>
        </p:nvSpPr>
        <p:spPr bwMode="auto">
          <a:xfrm>
            <a:off x="5241925" y="6413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36" name="Text Box 16"/>
          <p:cNvSpPr txBox="1">
            <a:spLocks noChangeArrowheads="1"/>
          </p:cNvSpPr>
          <p:nvPr/>
        </p:nvSpPr>
        <p:spPr bwMode="auto">
          <a:xfrm>
            <a:off x="2574925" y="54419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37" name="Text Box 18"/>
          <p:cNvSpPr txBox="1">
            <a:spLocks noChangeArrowheads="1"/>
          </p:cNvSpPr>
          <p:nvPr/>
        </p:nvSpPr>
        <p:spPr bwMode="auto">
          <a:xfrm>
            <a:off x="7756525" y="54419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38" name="Text Box 20"/>
          <p:cNvSpPr txBox="1">
            <a:spLocks noChangeArrowheads="1"/>
          </p:cNvSpPr>
          <p:nvPr/>
        </p:nvSpPr>
        <p:spPr bwMode="auto">
          <a:xfrm>
            <a:off x="2041525" y="23939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46123" y="2852936"/>
            <a:ext cx="7748395" cy="3566074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algn="just"/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Евразийский </a:t>
            </a:r>
            <a:r>
              <a:rPr lang="ru-RU" sz="1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банк развития </a:t>
            </a: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1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качестве управляющего средствами Евразийского фонда стабилизации и развития </a:t>
            </a:r>
            <a:r>
              <a:rPr lang="ru-RU" sz="14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ежегодно</a:t>
            </a: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проводит конкурсы по отбору </a:t>
            </a:r>
            <a:r>
              <a:rPr lang="ru-RU" sz="1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роектов в социальной сфере для финансирования из средств </a:t>
            </a: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грантов. </a:t>
            </a:r>
            <a:r>
              <a:rPr lang="ru-RU" sz="14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К участию в конкурсе приглашены Республика Армения, Кыргызская Республика и Республика Таджикистан. </a:t>
            </a:r>
            <a:endParaRPr lang="ru-RU" sz="1400" b="1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60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Гранты </a:t>
            </a:r>
            <a:r>
              <a:rPr lang="ru-RU" sz="16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редоставляются для финансирования проектов в таких сферах как: образование, </a:t>
            </a:r>
            <a:r>
              <a:rPr 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здравоохранение,</a:t>
            </a:r>
            <a:r>
              <a:rPr lang="ru-RU" sz="16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эффективность государственного управления, социальное обеспечение и защита, включая продовольственную безопасность. </a:t>
            </a:r>
          </a:p>
          <a:p>
            <a:endParaRPr lang="ru-RU" sz="140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Сумма средств ЕФСР, доступная для предоставления в виде грантов в рамках второго конкурса, составляет порядка </a:t>
            </a:r>
            <a:r>
              <a:rPr lang="ru-RU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14 459,9 </a:t>
            </a: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тыс. долларов США. </a:t>
            </a:r>
          </a:p>
          <a:p>
            <a:endParaRPr lang="en-US" sz="1400" b="1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14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ачало приема заявок – ноябрь 2018 г </a:t>
            </a: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(предположительно). </a:t>
            </a:r>
          </a:p>
          <a:p>
            <a:pPr algn="just"/>
            <a:r>
              <a:rPr lang="en-US" sz="12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1200" b="1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2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sz="12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Информация: </a:t>
            </a:r>
            <a:r>
              <a:rPr lang="en-US" sz="12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ttps://efsd.eabr.org</a:t>
            </a:r>
            <a:r>
              <a:rPr lang="en-US" sz="12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/</a:t>
            </a:r>
            <a:r>
              <a:rPr lang="ru-RU" sz="12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)</a:t>
            </a:r>
          </a:p>
          <a:p>
            <a:pPr algn="just"/>
            <a:endParaRPr lang="ru-RU" sz="1400" b="1" cap="all" baseline="0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400" b="1" cap="all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400" b="1" cap="all" baseline="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400" b="1" cap="all" baseline="0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39552" y="1418584"/>
            <a:ext cx="8131373" cy="114632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ru-RU" sz="1400" b="1" i="1" u="sng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ПРЕДЛОЖЕНИЕ  </a:t>
            </a:r>
            <a:endParaRPr lang="ru-RU" sz="1400" b="1" i="1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  <a:p>
            <a:r>
              <a:rPr lang="ru-RU" sz="1400" b="1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Переформатирование </a:t>
            </a:r>
            <a:r>
              <a:rPr lang="ru-RU" sz="1400" b="1" i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проекта  по применению технологии генераторного метода получения препарата иттрия - 90 и созданию производств медицинской продукции на его основе в странах СНГ </a:t>
            </a:r>
            <a:r>
              <a:rPr lang="ru-RU" sz="1400" b="1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и подача документации на </a:t>
            </a:r>
            <a:r>
              <a:rPr lang="ru-RU" sz="1600" b="1" i="1" dirty="0" smtClean="0">
                <a:solidFill>
                  <a:srgbClr val="C00000"/>
                </a:solidFill>
                <a:latin typeface="+mj-lt"/>
              </a:rPr>
              <a:t>соискание гранта в Евразийском фонде стабилизации и развития. </a:t>
            </a:r>
            <a:endParaRPr lang="ru-RU" sz="1400" b="1" i="1" dirty="0">
              <a:solidFill>
                <a:srgbClr val="C00000"/>
              </a:solidFill>
              <a:latin typeface="+mj-lt"/>
            </a:endParaRPr>
          </a:p>
          <a:p>
            <a:endParaRPr lang="ru-RU" sz="1200" b="0" i="1" cap="all" baseline="0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2550" y="194469"/>
            <a:ext cx="1023937" cy="938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Прямоугольник 18"/>
          <p:cNvSpPr/>
          <p:nvPr/>
        </p:nvSpPr>
        <p:spPr>
          <a:xfrm>
            <a:off x="467544" y="651888"/>
            <a:ext cx="684076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600" b="1" i="1" dirty="0">
                <a:solidFill>
                  <a:srgbClr val="003087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18 Заседание Комиссии государств-участников СНГ по использованию атомной энергии в мирных целях (Душанбе, 23 ноября 2017 г.)</a:t>
            </a:r>
            <a:endParaRPr lang="ru-RU" sz="1600" i="1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179512" y="159023"/>
            <a:ext cx="417646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rgbClr val="002060"/>
                </a:solidFill>
                <a:latin typeface="+mj-lt"/>
              </a:rPr>
              <a:t>ФИНАНСИРОВАНИЕ ПРОЕКТА</a:t>
            </a:r>
            <a:endParaRPr lang="ru-RU" sz="2400" dirty="0">
              <a:solidFill>
                <a:srgbClr val="00206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64182019"/>
      </p:ext>
    </p:extLst>
  </p:cSld>
  <p:clrMapOvr>
    <a:masterClrMapping/>
  </p:clrMapOvr>
  <p:transition spd="med" advClick="0" advTm="5000">
    <p:circl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5" name="Text Box 3"/>
          <p:cNvSpPr txBox="1">
            <a:spLocks noChangeArrowheads="1"/>
          </p:cNvSpPr>
          <p:nvPr/>
        </p:nvSpPr>
        <p:spPr bwMode="auto">
          <a:xfrm>
            <a:off x="1508125" y="10223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26" name="Text Box 4"/>
          <p:cNvSpPr txBox="1">
            <a:spLocks noChangeArrowheads="1"/>
          </p:cNvSpPr>
          <p:nvPr/>
        </p:nvSpPr>
        <p:spPr bwMode="auto">
          <a:xfrm>
            <a:off x="746125" y="9461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27" name="Text Box 5"/>
          <p:cNvSpPr txBox="1">
            <a:spLocks noChangeArrowheads="1"/>
          </p:cNvSpPr>
          <p:nvPr/>
        </p:nvSpPr>
        <p:spPr bwMode="auto">
          <a:xfrm>
            <a:off x="8670925" y="2603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28" name="Text Box 6"/>
          <p:cNvSpPr txBox="1">
            <a:spLocks noChangeArrowheads="1"/>
          </p:cNvSpPr>
          <p:nvPr/>
        </p:nvSpPr>
        <p:spPr bwMode="auto">
          <a:xfrm>
            <a:off x="5546725" y="30035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29" name="Text Box 7"/>
          <p:cNvSpPr txBox="1">
            <a:spLocks noChangeArrowheads="1"/>
          </p:cNvSpPr>
          <p:nvPr/>
        </p:nvSpPr>
        <p:spPr bwMode="auto">
          <a:xfrm>
            <a:off x="898525" y="54419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31" name="Text Box 9"/>
          <p:cNvSpPr txBox="1">
            <a:spLocks noChangeArrowheads="1"/>
          </p:cNvSpPr>
          <p:nvPr/>
        </p:nvSpPr>
        <p:spPr bwMode="auto">
          <a:xfrm>
            <a:off x="3641725" y="3365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33" name="Text Box 11"/>
          <p:cNvSpPr txBox="1">
            <a:spLocks noChangeArrowheads="1"/>
          </p:cNvSpPr>
          <p:nvPr/>
        </p:nvSpPr>
        <p:spPr bwMode="auto">
          <a:xfrm>
            <a:off x="5394325" y="23939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34" name="Text Box 12"/>
          <p:cNvSpPr txBox="1">
            <a:spLocks noChangeArrowheads="1"/>
          </p:cNvSpPr>
          <p:nvPr/>
        </p:nvSpPr>
        <p:spPr bwMode="auto">
          <a:xfrm>
            <a:off x="822325" y="8699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35" name="Text Box 14"/>
          <p:cNvSpPr txBox="1">
            <a:spLocks noChangeArrowheads="1"/>
          </p:cNvSpPr>
          <p:nvPr/>
        </p:nvSpPr>
        <p:spPr bwMode="auto">
          <a:xfrm>
            <a:off x="5241925" y="6413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36" name="Text Box 16"/>
          <p:cNvSpPr txBox="1">
            <a:spLocks noChangeArrowheads="1"/>
          </p:cNvSpPr>
          <p:nvPr/>
        </p:nvSpPr>
        <p:spPr bwMode="auto">
          <a:xfrm>
            <a:off x="2574925" y="54419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37" name="Text Box 18"/>
          <p:cNvSpPr txBox="1">
            <a:spLocks noChangeArrowheads="1"/>
          </p:cNvSpPr>
          <p:nvPr/>
        </p:nvSpPr>
        <p:spPr bwMode="auto">
          <a:xfrm>
            <a:off x="7756525" y="54419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38" name="Text Box 20"/>
          <p:cNvSpPr txBox="1">
            <a:spLocks noChangeArrowheads="1"/>
          </p:cNvSpPr>
          <p:nvPr/>
        </p:nvSpPr>
        <p:spPr bwMode="auto">
          <a:xfrm>
            <a:off x="2041525" y="23939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75118" y="1554994"/>
            <a:ext cx="7699761" cy="4617243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algn="just"/>
            <a:r>
              <a:rPr lang="ru-RU" sz="1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Гранты для финансирования одного проекта предоставляются в размере: </a:t>
            </a:r>
            <a:endParaRPr lang="ru-RU" sz="140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не </a:t>
            </a:r>
            <a:r>
              <a:rPr lang="ru-RU" sz="1400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менее 500 тыс. долларов США и не более 2 000 тыс. долларов США для проектов со сроками реализации до 1,5 лет;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ru-RU" sz="1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е менее 2 000 тыс. долларов США и не более 5 000 тыс. долларов США для проектов со сроком реализации от 1,5 лет и более</a:t>
            </a: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algn="just"/>
            <a:endParaRPr lang="ru-RU" sz="1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Для участия в конкурсе необходимо представить в установленные сроки заявку, </a:t>
            </a:r>
            <a:r>
              <a:rPr lang="ru-RU" sz="14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одписанную руководителем органа исполнительной власти потенциального получателя гранта</a:t>
            </a:r>
            <a:r>
              <a:rPr lang="ru-RU" sz="1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, уполномоченного осуществлять подготовку и реализацию проекта, вместе с сопроводительным письмом уполномоченного представителя в Совете Фонда на имя Председателя Совета Фонда</a:t>
            </a: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endParaRPr lang="ru-RU" sz="1400" b="1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4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бязательные критерии:</a:t>
            </a:r>
          </a:p>
          <a:p>
            <a:pPr algn="just"/>
            <a:r>
              <a:rPr lang="ru-RU" sz="14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Актуальность. </a:t>
            </a: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роект соответствует социально-экономическим приоритетам Получателя и решает важные проблемы в области социального развития страны.</a:t>
            </a:r>
          </a:p>
          <a:p>
            <a:pPr algn="just"/>
            <a:r>
              <a:rPr lang="ru-RU" sz="14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роработанность. </a:t>
            </a: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отенциальный получатель способен представить Управляющему максимально подробную концепцию, которая включает четкий план работы или мероприятий, систему показателей эффективности и план по обеспечению устойчивости результатов в рамках проекта. </a:t>
            </a:r>
          </a:p>
          <a:p>
            <a:pPr algn="just"/>
            <a:r>
              <a:rPr lang="ru-RU" sz="14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Институциональные возможности. </a:t>
            </a: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У получателя есть необходимые и достаточные компетенции, опыт, инструменты и персонал для реализации проекта.</a:t>
            </a:r>
            <a:r>
              <a:rPr lang="ru-RU" sz="14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</a:t>
            </a:r>
            <a:endParaRPr lang="ru-RU" sz="1400" b="1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574925" y="327732"/>
            <a:ext cx="3478139" cy="72557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endParaRPr lang="ru-RU" sz="1400" b="1" cap="all" baseline="0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+mj-lt"/>
              </a:rPr>
              <a:t>Условия</a:t>
            </a:r>
            <a:r>
              <a:rPr lang="ru-RU" sz="1400" b="1" cap="all" baseline="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b="1" dirty="0">
                <a:solidFill>
                  <a:srgbClr val="002060"/>
                </a:solidFill>
                <a:latin typeface="+mj-lt"/>
              </a:rPr>
              <a:t>конкурса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9210" y="234157"/>
            <a:ext cx="1023937" cy="938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05473628"/>
      </p:ext>
    </p:extLst>
  </p:cSld>
  <p:clrMapOvr>
    <a:masterClrMapping/>
  </p:clrMapOvr>
  <p:transition spd="med" advClick="0" advTm="5000">
    <p:circl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8" name="Text Box 2"/>
          <p:cNvSpPr txBox="1">
            <a:spLocks noChangeArrowheads="1"/>
          </p:cNvSpPr>
          <p:nvPr/>
        </p:nvSpPr>
        <p:spPr bwMode="auto">
          <a:xfrm>
            <a:off x="751843" y="1711490"/>
            <a:ext cx="6762572" cy="203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7.4. Одобрить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выделение в отдельный проект мероприятий по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доработке генераторной технологии получения иттрия-90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, разработке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и регистрации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адиофармпрепаратов и медицинских изделий на основе иттрия – 90.</a:t>
            </a:r>
          </a:p>
          <a:p>
            <a:pPr indent="265113" algn="just">
              <a:buFont typeface="+mj-lt"/>
              <a:buAutoNum type="arabicPeriod" startAt="3"/>
            </a:pPr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7.5. Рабочей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группе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совместно с секретариатом Комиссии проработать вопрос с заинтересованными государствами о возможности участия в конкурсе </a:t>
            </a:r>
            <a:r>
              <a:rPr lang="ru-RU" sz="1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Евразийского фонда стабилизации и развития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на получение гранта по разработке и подготовке к регистрации </a:t>
            </a:r>
            <a:r>
              <a:rPr lang="ru-RU" sz="1400" dirty="0" err="1">
                <a:latin typeface="Times New Roman" pitchFamily="18" charset="0"/>
                <a:cs typeface="Times New Roman" pitchFamily="18" charset="0"/>
              </a:rPr>
              <a:t>радиофармпрепаратов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 и медицинских изделий на основе иттрия –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90 в срок до 8 декабря 2017 года.</a:t>
            </a:r>
          </a:p>
        </p:txBody>
      </p:sp>
      <p:sp>
        <p:nvSpPr>
          <p:cNvPr id="5125" name="Text Box 3"/>
          <p:cNvSpPr txBox="1">
            <a:spLocks noChangeArrowheads="1"/>
          </p:cNvSpPr>
          <p:nvPr/>
        </p:nvSpPr>
        <p:spPr bwMode="auto">
          <a:xfrm>
            <a:off x="1508125" y="10223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26" name="Text Box 4"/>
          <p:cNvSpPr txBox="1">
            <a:spLocks noChangeArrowheads="1"/>
          </p:cNvSpPr>
          <p:nvPr/>
        </p:nvSpPr>
        <p:spPr bwMode="auto">
          <a:xfrm>
            <a:off x="746125" y="9461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27" name="Text Box 5"/>
          <p:cNvSpPr txBox="1">
            <a:spLocks noChangeArrowheads="1"/>
          </p:cNvSpPr>
          <p:nvPr/>
        </p:nvSpPr>
        <p:spPr bwMode="auto">
          <a:xfrm>
            <a:off x="8670925" y="2603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28" name="Text Box 6"/>
          <p:cNvSpPr txBox="1">
            <a:spLocks noChangeArrowheads="1"/>
          </p:cNvSpPr>
          <p:nvPr/>
        </p:nvSpPr>
        <p:spPr bwMode="auto">
          <a:xfrm>
            <a:off x="5546725" y="30035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29" name="Text Box 7"/>
          <p:cNvSpPr txBox="1">
            <a:spLocks noChangeArrowheads="1"/>
          </p:cNvSpPr>
          <p:nvPr/>
        </p:nvSpPr>
        <p:spPr bwMode="auto">
          <a:xfrm>
            <a:off x="898525" y="54419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31" name="Text Box 9"/>
          <p:cNvSpPr txBox="1">
            <a:spLocks noChangeArrowheads="1"/>
          </p:cNvSpPr>
          <p:nvPr/>
        </p:nvSpPr>
        <p:spPr bwMode="auto">
          <a:xfrm>
            <a:off x="3641725" y="3365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33" name="Text Box 11"/>
          <p:cNvSpPr txBox="1">
            <a:spLocks noChangeArrowheads="1"/>
          </p:cNvSpPr>
          <p:nvPr/>
        </p:nvSpPr>
        <p:spPr bwMode="auto">
          <a:xfrm>
            <a:off x="5394325" y="23939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34" name="Text Box 12"/>
          <p:cNvSpPr txBox="1">
            <a:spLocks noChangeArrowheads="1"/>
          </p:cNvSpPr>
          <p:nvPr/>
        </p:nvSpPr>
        <p:spPr bwMode="auto">
          <a:xfrm>
            <a:off x="822325" y="8699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35" name="Text Box 14"/>
          <p:cNvSpPr txBox="1">
            <a:spLocks noChangeArrowheads="1"/>
          </p:cNvSpPr>
          <p:nvPr/>
        </p:nvSpPr>
        <p:spPr bwMode="auto">
          <a:xfrm>
            <a:off x="5241925" y="6413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36" name="Text Box 16"/>
          <p:cNvSpPr txBox="1">
            <a:spLocks noChangeArrowheads="1"/>
          </p:cNvSpPr>
          <p:nvPr/>
        </p:nvSpPr>
        <p:spPr bwMode="auto">
          <a:xfrm>
            <a:off x="2574925" y="54419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37" name="Text Box 18"/>
          <p:cNvSpPr txBox="1">
            <a:spLocks noChangeArrowheads="1"/>
          </p:cNvSpPr>
          <p:nvPr/>
        </p:nvSpPr>
        <p:spPr bwMode="auto">
          <a:xfrm>
            <a:off x="7756525" y="54419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5138" name="Text Box 20"/>
          <p:cNvSpPr txBox="1">
            <a:spLocks noChangeArrowheads="1"/>
          </p:cNvSpPr>
          <p:nvPr/>
        </p:nvSpPr>
        <p:spPr bwMode="auto">
          <a:xfrm>
            <a:off x="2041525" y="2393950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>
              <a:latin typeface="Verdana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69924" y="519784"/>
            <a:ext cx="6926411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b="1" dirty="0" smtClean="0">
                <a:solidFill>
                  <a:srgbClr val="003087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ПРОТОКОЛ </a:t>
            </a:r>
          </a:p>
          <a:p>
            <a:pPr lvl="0"/>
            <a:r>
              <a:rPr lang="ru-RU" sz="1600" b="1" dirty="0" smtClean="0">
                <a:solidFill>
                  <a:srgbClr val="003087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18го Заседания </a:t>
            </a:r>
            <a:r>
              <a:rPr lang="ru-RU" sz="1600" b="1" dirty="0">
                <a:solidFill>
                  <a:srgbClr val="003087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Комиссии государств-участников СНГ по использованию атомной энергии в мирных целях (Душанбе, 23 ноября 2017 г.)</a:t>
            </a:r>
            <a:endParaRPr lang="ru-RU" sz="1600" dirty="0"/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9063" y="279260"/>
            <a:ext cx="1023937" cy="938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838200" y="4365104"/>
            <a:ext cx="6629995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ru-RU" b="1" dirty="0" smtClean="0">
                <a:solidFill>
                  <a:srgbClr val="003087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Новое название проекта</a:t>
            </a:r>
            <a:endParaRPr lang="ru-RU" b="1" dirty="0">
              <a:solidFill>
                <a:srgbClr val="003087">
                  <a:lumMod val="75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marL="0" lvl="1" algn="just"/>
            <a:r>
              <a:rPr lang="ru-RU" sz="1600" b="1" i="1" dirty="0">
                <a:solidFill>
                  <a:srgbClr val="003087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«Разработка и регистрация </a:t>
            </a:r>
            <a:r>
              <a:rPr lang="ru-RU" sz="1600" b="1" i="1" dirty="0" err="1">
                <a:solidFill>
                  <a:srgbClr val="003087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радиофармпрепаратов</a:t>
            </a:r>
            <a:r>
              <a:rPr lang="ru-RU" sz="1600" b="1" i="1" dirty="0">
                <a:solidFill>
                  <a:srgbClr val="003087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 и медицинских изделий на основе иттрия – 90»</a:t>
            </a:r>
          </a:p>
          <a:p>
            <a:pPr marL="0" lvl="1" algn="just"/>
            <a:endParaRPr lang="ru-RU" sz="1400" b="1" dirty="0">
              <a:solidFill>
                <a:srgbClr val="003087">
                  <a:lumMod val="75000"/>
                </a:srgbClr>
              </a:solidFill>
              <a:latin typeface="Times New Roman" pitchFamily="18" charset="0"/>
              <a:cs typeface="Times New Roman" pitchFamily="18" charset="0"/>
            </a:endParaRPr>
          </a:p>
          <a:p>
            <a:pPr marL="0" lvl="1" algn="ctr"/>
            <a:endParaRPr lang="ru-RU" sz="14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lvl="1" algn="ctr"/>
            <a:r>
              <a:rPr lang="ru-RU" sz="14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Требуется </a:t>
            </a:r>
            <a:r>
              <a:rPr lang="ru-RU" sz="14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подготовка пакета документов </a:t>
            </a:r>
            <a:endParaRPr lang="ru-RU" sz="14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lvl="1" algn="ctr"/>
            <a:r>
              <a:rPr lang="ru-RU" sz="14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для </a:t>
            </a:r>
            <a:r>
              <a:rPr lang="ru-RU" sz="14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получения гранта Евразийского фонда социального </a:t>
            </a:r>
            <a:r>
              <a:rPr lang="ru-RU" sz="14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развития</a:t>
            </a:r>
            <a:endParaRPr lang="ru-RU" sz="1400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0448838"/>
      </p:ext>
    </p:extLst>
  </p:cSld>
  <p:clrMapOvr>
    <a:masterClrMapping/>
  </p:clrMapOvr>
  <p:transition spd="med" advClick="0" advTm="5000">
    <p:circl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61051" y="1412776"/>
            <a:ext cx="8568952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оценка перспективности и конкурентоспособности проекта среди государств-участников СНГ</a:t>
            </a:r>
          </a:p>
          <a:p>
            <a:pPr marL="342900" indent="-34290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определение потребностей в продукции среди радиологических учреждений СНГ</a:t>
            </a:r>
          </a:p>
          <a:p>
            <a:pPr marL="342900" indent="-34290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анализ имеющейся инфраструктуры и кадрового потенциала государств-участников СНГ для создания производств медицинской продукции с Y-90</a:t>
            </a:r>
          </a:p>
          <a:p>
            <a:pPr marL="342900" indent="-34290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определение функционала участников проекта среди государств-участников СНГ</a:t>
            </a:r>
          </a:p>
          <a:p>
            <a:pPr marL="342900" indent="-34290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оценка потенциальной номенклатуры и перспективной мощности производства продукции с Y-90 </a:t>
            </a:r>
          </a:p>
          <a:p>
            <a:pPr marL="342900" indent="-34290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формирование этапов выполнения проекта</a:t>
            </a:r>
          </a:p>
          <a:p>
            <a:pPr marL="342900" indent="-34290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предварительная оценка стоимости и определение путей финансирования проекта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51337" y="375047"/>
            <a:ext cx="2510624" cy="9848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spcBef>
                <a:spcPts val="0"/>
              </a:spcBef>
              <a:spcAft>
                <a:spcPts val="1200"/>
              </a:spcAft>
            </a:pPr>
            <a:r>
              <a:rPr lang="ru-RU" sz="2400" b="1" dirty="0" smtClean="0">
                <a:solidFill>
                  <a:srgbClr val="002060"/>
                </a:solidFill>
                <a:latin typeface="+mj-lt"/>
              </a:rPr>
              <a:t>КОНЦЕПЦИЯ-2017</a:t>
            </a:r>
          </a:p>
          <a:p>
            <a:pPr>
              <a:spcAft>
                <a:spcPts val="1200"/>
              </a:spcAft>
            </a:pPr>
            <a:r>
              <a:rPr lang="ru-RU" sz="2400" b="1" dirty="0" smtClean="0">
                <a:solidFill>
                  <a:srgbClr val="002060"/>
                </a:solidFill>
              </a:rPr>
              <a:t>Цели и задачи</a:t>
            </a:r>
            <a:endParaRPr lang="ru-RU" sz="2400" b="1" dirty="0">
              <a:solidFill>
                <a:srgbClr val="00206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034602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323528" y="6021288"/>
            <a:ext cx="88204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</a:rPr>
              <a:t>Заседание Рабочей группы </a:t>
            </a:r>
            <a:r>
              <a:rPr lang="ru-RU" sz="1200" b="1" dirty="0" smtClean="0">
                <a:solidFill>
                  <a:srgbClr val="002060"/>
                </a:solidFill>
              </a:rPr>
              <a:t>«</a:t>
            </a:r>
            <a:r>
              <a:rPr lang="ru-RU" sz="1200" b="1" dirty="0">
                <a:solidFill>
                  <a:srgbClr val="002060"/>
                </a:solidFill>
              </a:rPr>
              <a:t>Сотрудничество в области производства, использования и продвижения изотопной продукции государств – участников СНГ» </a:t>
            </a:r>
            <a:r>
              <a:rPr lang="ru-RU" sz="1200" b="1" dirty="0" smtClean="0">
                <a:solidFill>
                  <a:srgbClr val="002060"/>
                </a:solidFill>
              </a:rPr>
              <a:t>Комиссии </a:t>
            </a:r>
            <a:r>
              <a:rPr lang="ru-RU" sz="1200" b="1" dirty="0">
                <a:solidFill>
                  <a:srgbClr val="002060"/>
                </a:solidFill>
              </a:rPr>
              <a:t>государств – участников СНГ по использованию атомной энергии в мирных целях!</a:t>
            </a:r>
          </a:p>
          <a:p>
            <a:r>
              <a:rPr lang="ru-RU" sz="1200" b="1" dirty="0">
                <a:solidFill>
                  <a:srgbClr val="002060"/>
                </a:solidFill>
              </a:rPr>
              <a:t>29 марта 2018 г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E13EF247-AC7B-4BBA-A407-14BF1236A14D}"/>
              </a:ext>
            </a:extLst>
          </p:cNvPr>
          <p:cNvSpPr/>
          <p:nvPr/>
        </p:nvSpPr>
        <p:spPr>
          <a:xfrm>
            <a:off x="2771800" y="2564904"/>
            <a:ext cx="747057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  <a:latin typeface="+mj-lt"/>
              </a:rPr>
              <a:t>СПАСИБО ЗА ВНИМАНИЕ!</a:t>
            </a:r>
            <a:endParaRPr lang="ru-RU" sz="2400" dirty="0">
              <a:solidFill>
                <a:srgbClr val="00206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989858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54968" y="5733256"/>
            <a:ext cx="8818329" cy="21082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spcAft>
                <a:spcPts val="1200"/>
              </a:spcAft>
            </a:pPr>
            <a:endParaRPr lang="ru-RU" sz="15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lvl="1">
              <a:spcAft>
                <a:spcPts val="1200"/>
              </a:spcAft>
            </a:pPr>
            <a:r>
              <a:rPr lang="ru-RU" sz="15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В России и других странах СНГ разработкам препаратов с Y-90 за последние 5 лет было посвящено не более </a:t>
            </a:r>
            <a:r>
              <a:rPr lang="ru-RU" sz="16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-3 проектов</a:t>
            </a:r>
            <a:r>
              <a:rPr lang="ru-RU" sz="15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а в рутинной клинической практике они не применяются.</a:t>
            </a:r>
          </a:p>
          <a:p>
            <a:pPr lvl="1">
              <a:spcAft>
                <a:spcPts val="1200"/>
              </a:spcAft>
            </a:pPr>
            <a:endParaRPr lang="ru-RU" sz="15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lvl="1">
              <a:spcAft>
                <a:spcPts val="1200"/>
              </a:spcAft>
            </a:pPr>
            <a:endParaRPr lang="ru-RU" sz="15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lvl="1">
              <a:spcAft>
                <a:spcPts val="1200"/>
              </a:spcAft>
            </a:pPr>
            <a:endParaRPr lang="ru-RU" sz="1500" b="1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86427B09-D9B1-46CB-8A50-3D8C7BA4B1AE}"/>
              </a:ext>
            </a:extLst>
          </p:cNvPr>
          <p:cNvSpPr txBox="1"/>
          <p:nvPr/>
        </p:nvSpPr>
        <p:spPr>
          <a:xfrm>
            <a:off x="395536" y="116632"/>
            <a:ext cx="49444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ru-RU" sz="2400" b="1" dirty="0" smtClean="0">
                <a:solidFill>
                  <a:srgbClr val="002060"/>
                </a:solidFill>
                <a:latin typeface="+mj-lt"/>
              </a:rPr>
              <a:t>ПОЧЕМУ ИТТРИЙ-90?</a:t>
            </a:r>
            <a:endParaRPr lang="ru-RU" sz="2400" b="1" dirty="0">
              <a:solidFill>
                <a:srgbClr val="002060"/>
              </a:solidFill>
              <a:latin typeface="+mj-lt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/>
          <a:srcRect l="1935" r="3238" b="5501"/>
          <a:stretch>
            <a:fillRect/>
          </a:stretch>
        </p:blipFill>
        <p:spPr bwMode="auto">
          <a:xfrm rot="5400000">
            <a:off x="5593662" y="2488475"/>
            <a:ext cx="3528392" cy="3537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/>
        </p:nvSpPr>
        <p:spPr>
          <a:xfrm>
            <a:off x="179512" y="546994"/>
            <a:ext cx="8818329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Во всем мире сегодня </a:t>
            </a:r>
            <a:r>
              <a:rPr lang="ru-RU" sz="1600" dirty="0" smtClean="0"/>
              <a:t>производится </a:t>
            </a:r>
            <a:r>
              <a:rPr lang="ru-RU" sz="1600" dirty="0"/>
              <a:t>не менее </a:t>
            </a:r>
            <a:r>
              <a:rPr lang="ru-RU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20</a:t>
            </a:r>
            <a:r>
              <a:rPr lang="ru-RU" sz="1600" b="1" dirty="0"/>
              <a:t> </a:t>
            </a:r>
            <a:r>
              <a:rPr lang="ru-RU" sz="1600" dirty="0"/>
              <a:t>наименований РФП</a:t>
            </a:r>
            <a:r>
              <a:rPr lang="ru-RU" sz="1600" dirty="0" smtClean="0"/>
              <a:t>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В России </a:t>
            </a:r>
            <a:r>
              <a:rPr lang="ru-RU" sz="1600" dirty="0" smtClean="0"/>
              <a:t>применяется  </a:t>
            </a:r>
            <a:r>
              <a:rPr lang="ru-RU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5% </a:t>
            </a:r>
            <a:r>
              <a:rPr lang="ru-RU" sz="1600" dirty="0" smtClean="0"/>
              <a:t>потенциально возможной номенклатуры РФП:</a:t>
            </a:r>
            <a:endParaRPr lang="en-US" sz="1600" dirty="0" smtClean="0"/>
          </a:p>
          <a:p>
            <a:pPr marL="742950" lvl="2" indent="-285750">
              <a:buFontTx/>
              <a:buChar char="-"/>
            </a:pPr>
            <a:r>
              <a:rPr lang="ru-RU" sz="20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2</a:t>
            </a:r>
            <a:r>
              <a:rPr lang="ru-RU" sz="1600" dirty="0" smtClean="0"/>
              <a:t> </a:t>
            </a:r>
            <a:r>
              <a:rPr lang="ru-RU" sz="1600" dirty="0"/>
              <a:t>РФП для планарной </a:t>
            </a:r>
            <a:r>
              <a:rPr lang="ru-RU" sz="1600" dirty="0" err="1"/>
              <a:t>сцинтиграфии</a:t>
            </a:r>
            <a:r>
              <a:rPr lang="ru-RU" sz="1600" dirty="0"/>
              <a:t> и однофотонной-эмиссионной томографии с изотопами </a:t>
            </a:r>
            <a:r>
              <a:rPr lang="en-US" sz="1600" dirty="0" err="1"/>
              <a:t>Tc</a:t>
            </a:r>
            <a:r>
              <a:rPr lang="ru-RU" sz="1600" dirty="0"/>
              <a:t>-99</a:t>
            </a:r>
            <a:r>
              <a:rPr lang="en-US" sz="1600" dirty="0"/>
              <a:t>m</a:t>
            </a:r>
            <a:r>
              <a:rPr lang="ru-RU" sz="1600" dirty="0"/>
              <a:t>, </a:t>
            </a:r>
            <a:r>
              <a:rPr lang="en-US" sz="1600" dirty="0"/>
              <a:t>I</a:t>
            </a:r>
            <a:r>
              <a:rPr lang="ru-RU" sz="1600" dirty="0"/>
              <a:t>-123, </a:t>
            </a:r>
            <a:r>
              <a:rPr lang="en-US" sz="1600" dirty="0"/>
              <a:t>I</a:t>
            </a:r>
            <a:r>
              <a:rPr lang="ru-RU" sz="1600" dirty="0"/>
              <a:t>-131, </a:t>
            </a:r>
            <a:r>
              <a:rPr lang="en-US" sz="1600" dirty="0" err="1"/>
              <a:t>Ga</a:t>
            </a:r>
            <a:r>
              <a:rPr lang="ru-RU" sz="1600" dirty="0"/>
              <a:t>-67; </a:t>
            </a:r>
            <a:endParaRPr lang="en-US" sz="1600" dirty="0" smtClean="0"/>
          </a:p>
          <a:p>
            <a:pPr marL="742950" lvl="2" indent="-285750">
              <a:buFontTx/>
              <a:buChar char="-"/>
            </a:pPr>
            <a:r>
              <a:rPr lang="ru-RU" sz="20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8</a:t>
            </a:r>
            <a:r>
              <a:rPr lang="ru-RU" sz="1600" b="1" dirty="0" smtClean="0"/>
              <a:t> </a:t>
            </a:r>
            <a:r>
              <a:rPr lang="ru-RU" sz="1600" dirty="0"/>
              <a:t>РФП для позитронно-эмиссионной томографии с изотопами </a:t>
            </a:r>
            <a:r>
              <a:rPr lang="en-US" sz="1600" dirty="0"/>
              <a:t>F</a:t>
            </a:r>
            <a:r>
              <a:rPr lang="ru-RU" sz="1600" dirty="0"/>
              <a:t>-18, </a:t>
            </a:r>
            <a:r>
              <a:rPr lang="en-US" sz="1600" dirty="0"/>
              <a:t>C</a:t>
            </a:r>
            <a:r>
              <a:rPr lang="ru-RU" sz="1600" dirty="0"/>
              <a:t>-11, </a:t>
            </a:r>
            <a:r>
              <a:rPr lang="en-US" sz="1600" dirty="0"/>
              <a:t>N</a:t>
            </a:r>
            <a:r>
              <a:rPr lang="ru-RU" sz="1600" dirty="0"/>
              <a:t>-13, </a:t>
            </a:r>
            <a:r>
              <a:rPr lang="en-US" sz="1600" dirty="0" err="1"/>
              <a:t>Ga</a:t>
            </a:r>
            <a:r>
              <a:rPr lang="ru-RU" sz="1600" dirty="0"/>
              <a:t>-68; </a:t>
            </a:r>
            <a:endParaRPr lang="en-US" sz="1600" dirty="0" smtClean="0"/>
          </a:p>
          <a:p>
            <a:pPr marL="742950" lvl="2" indent="-285750">
              <a:buFontTx/>
              <a:buChar char="-"/>
            </a:pPr>
            <a:r>
              <a:rPr lang="ru-RU" sz="20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</a:t>
            </a:r>
            <a:r>
              <a:rPr lang="ru-RU" sz="1600" dirty="0" smtClean="0"/>
              <a:t> </a:t>
            </a:r>
            <a:r>
              <a:rPr lang="ru-RU" sz="1600" dirty="0"/>
              <a:t>РФП для </a:t>
            </a:r>
            <a:r>
              <a:rPr lang="ru-RU" sz="1600" dirty="0" err="1"/>
              <a:t>радионуклидной</a:t>
            </a:r>
            <a:r>
              <a:rPr lang="ru-RU" sz="1600" dirty="0"/>
              <a:t> терапии с изотопами </a:t>
            </a:r>
            <a:r>
              <a:rPr lang="en-US" sz="1600" dirty="0"/>
              <a:t>I</a:t>
            </a:r>
            <a:r>
              <a:rPr lang="ru-RU" sz="1600" dirty="0"/>
              <a:t>-131, </a:t>
            </a:r>
            <a:r>
              <a:rPr lang="en-US" sz="1600" dirty="0" err="1"/>
              <a:t>Sr</a:t>
            </a:r>
            <a:r>
              <a:rPr lang="ru-RU" sz="1600" dirty="0"/>
              <a:t>-89, </a:t>
            </a:r>
            <a:r>
              <a:rPr lang="en-US" sz="1600" dirty="0" err="1"/>
              <a:t>Sm</a:t>
            </a:r>
            <a:r>
              <a:rPr lang="ru-RU" sz="1600" dirty="0" smtClean="0"/>
              <a:t>-153</a:t>
            </a:r>
            <a:endParaRPr lang="ru-RU" sz="1600" b="1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79513" y="3064311"/>
            <a:ext cx="4968552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Для </a:t>
            </a:r>
            <a:r>
              <a:rPr lang="ru-RU" sz="15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радионуклидной</a:t>
            </a:r>
            <a:r>
              <a:rPr lang="ru-RU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терапии</a:t>
            </a:r>
            <a:r>
              <a:rPr lang="en-US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</a:t>
            </a:r>
            <a:r>
              <a:rPr lang="ru-RU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рутинно  используются порядка 40 различных РФП с изотопами:</a:t>
            </a:r>
          </a:p>
          <a:p>
            <a:pPr marL="0" lvl="1" algn="ctr">
              <a:spcAft>
                <a:spcPts val="1200"/>
              </a:spcAft>
            </a:pPr>
            <a:r>
              <a:rPr lang="ru-RU" sz="16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1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   I-131</a:t>
            </a:r>
            <a:r>
              <a:rPr lang="ru-RU" sz="16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Sr-89, Sm-153</a:t>
            </a:r>
          </a:p>
          <a:p>
            <a:pPr marL="2857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В клиническую практику внедряются </a:t>
            </a:r>
            <a:r>
              <a:rPr lang="ru-RU" sz="15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РФП с изотопами:</a:t>
            </a:r>
          </a:p>
          <a:p>
            <a:pPr lvl="1" algn="ctr">
              <a:spcAft>
                <a:spcPts val="600"/>
              </a:spcAft>
            </a:pPr>
            <a:r>
              <a:rPr lang="en-US" sz="1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Y-90</a:t>
            </a:r>
            <a:r>
              <a:rPr lang="ru-RU" sz="1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lang="en-US" sz="1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u-177</a:t>
            </a:r>
            <a:r>
              <a:rPr lang="en-US" sz="16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Re-188, Bi-213</a:t>
            </a:r>
            <a:r>
              <a:rPr lang="en-US" sz="1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</a:t>
            </a:r>
            <a:r>
              <a:rPr lang="ru-RU" dirty="0"/>
              <a:t> </a:t>
            </a:r>
            <a:endParaRPr lang="ru-RU" dirty="0" smtClean="0"/>
          </a:p>
          <a:p>
            <a:pPr lvl="1" algn="ctr"/>
            <a:r>
              <a:rPr lang="ru-RU" sz="1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a-224</a:t>
            </a:r>
            <a:r>
              <a:rPr lang="ru-RU" sz="16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At-211, Ho-166, </a:t>
            </a:r>
            <a:r>
              <a:rPr lang="ru-RU" sz="1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r-169</a:t>
            </a:r>
            <a:endParaRPr lang="ru-RU" sz="1500" b="1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14608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29471" y="4941168"/>
            <a:ext cx="8818329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Y-90 </a:t>
            </a:r>
            <a:r>
              <a:rPr lang="ru-RU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входит в состав линейки популярных изотопов для </a:t>
            </a:r>
            <a:r>
              <a:rPr lang="ru-RU" sz="15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тераностики</a:t>
            </a:r>
            <a:r>
              <a:rPr lang="ru-RU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(комплексная диагностика и терапия с идентичным препаратом). Во всем мире, в </a:t>
            </a:r>
            <a:r>
              <a:rPr lang="ru-RU" sz="15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т.ч</a:t>
            </a:r>
            <a:r>
              <a:rPr lang="ru-RU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. и в России в клиническую практику внедряется препарат </a:t>
            </a:r>
            <a:r>
              <a:rPr lang="en-US" sz="15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Ga-68/Lu-177/Y-90 DOTATOC </a:t>
            </a:r>
            <a:r>
              <a:rPr lang="ru-RU" sz="15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для диагностики и терапии нейроэндокринных опухолей</a:t>
            </a:r>
          </a:p>
          <a:p>
            <a:pPr marL="285750" indent="-285750" algn="l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В </a:t>
            </a:r>
            <a:r>
              <a:rPr lang="ru-RU" sz="15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России и странах СНГ имеется технологический задел для получения медицинских препаратов с </a:t>
            </a:r>
            <a:r>
              <a:rPr lang="en-US" sz="15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Y-90</a:t>
            </a:r>
            <a:r>
              <a:rPr lang="ru-RU" sz="15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по реакторной и генераторной технологиям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4788024" y="2452417"/>
            <a:ext cx="4473665" cy="2252023"/>
            <a:chOff x="4860032" y="885119"/>
            <a:chExt cx="4473665" cy="2252023"/>
          </a:xfrm>
        </p:grpSpPr>
        <p:pic>
          <p:nvPicPr>
            <p:cNvPr id="8" name="Picture 1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860032" y="885119"/>
              <a:ext cx="4283968" cy="17517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" name="Прямоугольник 8"/>
            <p:cNvSpPr/>
            <p:nvPr/>
          </p:nvSpPr>
          <p:spPr>
            <a:xfrm>
              <a:off x="5811235" y="2782515"/>
              <a:ext cx="3522462" cy="354627"/>
            </a:xfrm>
            <a:prstGeom prst="rect">
              <a:avLst/>
            </a:prstGeom>
            <a:solidFill>
              <a:schemeClr val="bg1">
                <a:alpha val="71000"/>
              </a:schemeClr>
            </a:solidFill>
            <a:ln>
              <a:noFill/>
            </a:ln>
          </p:spPr>
          <p:txBody>
            <a:bodyPr wrap="square" lIns="36000" rIns="36000">
              <a:spAutoFit/>
            </a:bodyPr>
            <a:lstStyle/>
            <a:p>
              <a:pPr marL="381000" indent="-381000">
                <a:spcBef>
                  <a:spcPct val="20000"/>
                </a:spcBef>
                <a:buClr>
                  <a:srgbClr val="CC9900"/>
                </a:buClr>
                <a:buSzPct val="70000"/>
              </a:pPr>
              <a:r>
                <a:rPr lang="ru-RU" sz="1000" b="1" i="1" dirty="0">
                  <a:cs typeface="Arial" pitchFamily="34" charset="0"/>
                </a:rPr>
                <a:t>          </a:t>
              </a:r>
              <a:r>
                <a:rPr lang="en-GB" sz="1400" b="1" i="1" dirty="0">
                  <a:cs typeface="Arial" pitchFamily="34" charset="0"/>
                </a:rPr>
                <a:t>30-</a:t>
              </a:r>
              <a:r>
                <a:rPr lang="ru-RU" sz="1400" b="1" i="1" dirty="0">
                  <a:cs typeface="Arial" pitchFamily="34" charset="0"/>
                </a:rPr>
                <a:t>микронные микросферы с </a:t>
              </a:r>
              <a:r>
                <a:rPr lang="en-US" sz="1400" b="1" i="1" dirty="0">
                  <a:cs typeface="Arial" pitchFamily="34" charset="0"/>
                </a:rPr>
                <a:t>Y-90</a:t>
              </a:r>
              <a:endParaRPr lang="en-GB" sz="1000" b="1" i="1" dirty="0">
                <a:cs typeface="Arial" pitchFamily="34" charset="0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86427B09-D9B1-46CB-8A50-3D8C7BA4B1AE}"/>
              </a:ext>
            </a:extLst>
          </p:cNvPr>
          <p:cNvSpPr txBox="1"/>
          <p:nvPr/>
        </p:nvSpPr>
        <p:spPr>
          <a:xfrm>
            <a:off x="395536" y="423454"/>
            <a:ext cx="49444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ru-RU" sz="2400" b="1" dirty="0">
                <a:solidFill>
                  <a:srgbClr val="002060"/>
                </a:solidFill>
                <a:latin typeface="+mj-lt"/>
              </a:rPr>
              <a:t>АКТУАЛЬНОСТЬ ПРОЕКТА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94990" y="2348880"/>
            <a:ext cx="468051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5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в России ежегодно диагностируется около 7 000 случаев первичного рака печени и 130 000 случаев метастатического рака печени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5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в России и странах СНГ не существует эффективных методов лечения рака печени, и почти не проводится операций по ее </a:t>
            </a:r>
            <a:r>
              <a:rPr lang="ru-RU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пересадке</a:t>
            </a:r>
            <a:endParaRPr lang="ru-RU" sz="1500" b="1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51071" y="1124744"/>
            <a:ext cx="8818329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Радионуклид </a:t>
            </a:r>
            <a:r>
              <a:rPr lang="en-US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Y-90</a:t>
            </a:r>
            <a:r>
              <a:rPr lang="ru-RU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применяется для лечения рака молочной железы, печени, различных </a:t>
            </a:r>
            <a:r>
              <a:rPr lang="ru-RU" sz="15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лимфом</a:t>
            </a:r>
            <a:r>
              <a:rPr lang="ru-RU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, ревматоидных артритов и др. с применением высокоселективных методов доставки радионуклида к пораженному очагу</a:t>
            </a:r>
            <a:endParaRPr lang="ru-RU" sz="1500" b="1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42991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683568" y="4221088"/>
            <a:ext cx="7560840" cy="2357593"/>
            <a:chOff x="4563496" y="3292472"/>
            <a:chExt cx="7803827" cy="2667000"/>
          </a:xfrm>
        </p:grpSpPr>
        <p:pic>
          <p:nvPicPr>
            <p:cNvPr id="5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95673" y="3292472"/>
              <a:ext cx="1771650" cy="2667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16385" y="3360736"/>
              <a:ext cx="1878012" cy="2582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5" descr="http://secure-ecsd.elsevier.com/covers/80/Tango2/largest/9780124077225.jp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63496" y="3360736"/>
              <a:ext cx="1981200" cy="2530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TextBox 11"/>
          <p:cNvSpPr txBox="1"/>
          <p:nvPr/>
        </p:nvSpPr>
        <p:spPr>
          <a:xfrm>
            <a:off x="179512" y="1399191"/>
            <a:ext cx="8496944" cy="2723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5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Для сокращения отставания от мирового уровня развития радиофармацевтики в стране требуются разработки и внедрение в клиническую практику современных, высокоселективных РФП на основе высокомолекулярных средств </a:t>
            </a:r>
            <a:r>
              <a:rPr lang="ru-RU" sz="15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таргетной</a:t>
            </a:r>
            <a:r>
              <a:rPr lang="ru-RU" sz="15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доставки изотопов к облучаемым органам и тканям, таких как пептиды, </a:t>
            </a:r>
            <a:r>
              <a:rPr lang="ru-RU" sz="15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моноклональные</a:t>
            </a:r>
            <a:r>
              <a:rPr lang="ru-RU" sz="15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антитела и т.д.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500" b="1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5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На текущее время в реестре клинических исследований </a:t>
            </a:r>
            <a:r>
              <a:rPr lang="ru-RU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США </a:t>
            </a:r>
            <a:r>
              <a:rPr lang="ru-RU" sz="15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зарегистрировано </a:t>
            </a:r>
            <a:r>
              <a:rPr lang="ru-RU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                                   почти </a:t>
            </a:r>
            <a:r>
              <a:rPr lang="ru-RU" sz="1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270  исследований </a:t>
            </a:r>
            <a:r>
              <a:rPr lang="ru-RU" sz="15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инновационных терапевтических РФП </a:t>
            </a:r>
            <a:r>
              <a:rPr lang="ru-RU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с изотопом </a:t>
            </a:r>
            <a:r>
              <a:rPr lang="ru-RU" sz="15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Y-90. </a:t>
            </a:r>
            <a:endParaRPr lang="ru-RU" sz="1500" b="1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  <a:p>
            <a:pPr marL="252000">
              <a:spcBef>
                <a:spcPts val="0"/>
              </a:spcBef>
              <a:spcAft>
                <a:spcPts val="0"/>
              </a:spcAft>
            </a:pPr>
            <a:r>
              <a:rPr lang="ru-RU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В России </a:t>
            </a:r>
            <a:r>
              <a:rPr lang="ru-RU" sz="15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и других странах СНГ разработкам препаратов с </a:t>
            </a:r>
            <a:r>
              <a:rPr lang="ru-RU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Y-90 </a:t>
            </a:r>
            <a:r>
              <a:rPr lang="ru-RU" sz="15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за последние 5 лет было посвящено не более </a:t>
            </a:r>
            <a:r>
              <a:rPr lang="ru-RU" sz="1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2-3 проектов</a:t>
            </a:r>
            <a:r>
              <a:rPr lang="ru-RU" sz="15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,</a:t>
            </a:r>
            <a:r>
              <a:rPr lang="ru-RU" sz="1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</a:t>
            </a:r>
            <a:r>
              <a:rPr lang="ru-RU" sz="15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а в рутинной клинической практике они </a:t>
            </a:r>
            <a:r>
              <a:rPr lang="ru-RU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не </a:t>
            </a:r>
            <a:r>
              <a:rPr lang="ru-RU" sz="15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применяются.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sz="15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  <a:p>
            <a:pPr algn="l">
              <a:spcBef>
                <a:spcPts val="0"/>
              </a:spcBef>
              <a:spcAft>
                <a:spcPts val="1200"/>
              </a:spcAft>
              <a:buBlip>
                <a:blip r:embed="rId6"/>
              </a:buBlip>
            </a:pPr>
            <a:endParaRPr lang="ru-RU" sz="15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D9041E54-22AB-4422-A00B-0C714A04D873}"/>
              </a:ext>
            </a:extLst>
          </p:cNvPr>
          <p:cNvSpPr txBox="1"/>
          <p:nvPr/>
        </p:nvSpPr>
        <p:spPr>
          <a:xfrm>
            <a:off x="395536" y="423454"/>
            <a:ext cx="49444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ru-RU" sz="2400" b="1" dirty="0">
                <a:solidFill>
                  <a:srgbClr val="002060"/>
                </a:solidFill>
                <a:latin typeface="+mj-lt"/>
              </a:rPr>
              <a:t>АКТУАЛЬНОСТЬ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3930688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Вертикальный свиток 20"/>
          <p:cNvSpPr/>
          <p:nvPr/>
        </p:nvSpPr>
        <p:spPr>
          <a:xfrm>
            <a:off x="4350804" y="2645390"/>
            <a:ext cx="2664296" cy="3404006"/>
          </a:xfrm>
          <a:prstGeom prst="verticalScroll">
            <a:avLst/>
          </a:prstGeom>
          <a:solidFill>
            <a:schemeClr val="accent1">
              <a:alpha val="2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Вертикальный свиток 19"/>
          <p:cNvSpPr/>
          <p:nvPr/>
        </p:nvSpPr>
        <p:spPr>
          <a:xfrm>
            <a:off x="2123728" y="2852936"/>
            <a:ext cx="2664296" cy="3404006"/>
          </a:xfrm>
          <a:prstGeom prst="verticalScroll">
            <a:avLst/>
          </a:prstGeom>
          <a:solidFill>
            <a:schemeClr val="accent1">
              <a:alpha val="2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Вертикальный свиток 15"/>
          <p:cNvSpPr/>
          <p:nvPr/>
        </p:nvSpPr>
        <p:spPr>
          <a:xfrm>
            <a:off x="-36512" y="3140968"/>
            <a:ext cx="2664296" cy="3404006"/>
          </a:xfrm>
          <a:prstGeom prst="verticalScroll">
            <a:avLst/>
          </a:prstGeom>
          <a:solidFill>
            <a:schemeClr val="accent1">
              <a:alpha val="2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A480F2C9-182D-4778-86DF-CB3E073AF1B6}"/>
              </a:ext>
            </a:extLst>
          </p:cNvPr>
          <p:cNvSpPr txBox="1"/>
          <p:nvPr/>
        </p:nvSpPr>
        <p:spPr>
          <a:xfrm>
            <a:off x="358420" y="116632"/>
            <a:ext cx="24722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ru-RU" sz="2400" b="1" dirty="0">
                <a:solidFill>
                  <a:srgbClr val="002060"/>
                </a:solidFill>
                <a:latin typeface="+mj-lt"/>
              </a:rPr>
              <a:t>ЭТАПЫ ПРОЕКТА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690B4346-B473-4AA0-B739-2331C34A78DF}"/>
              </a:ext>
            </a:extLst>
          </p:cNvPr>
          <p:cNvSpPr/>
          <p:nvPr/>
        </p:nvSpPr>
        <p:spPr>
          <a:xfrm>
            <a:off x="318216" y="1163858"/>
            <a:ext cx="2088232" cy="190510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Отработка </a:t>
            </a:r>
            <a:r>
              <a:rPr lang="ru-RU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технологии </a:t>
            </a: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коммерческого производства иттрия-90 генераторным </a:t>
            </a:r>
            <a:r>
              <a:rPr lang="ru-RU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способом</a:t>
            </a:r>
            <a:endParaRPr lang="ru-RU" sz="1600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F153C28D-5B4A-432F-B7CB-D5A45277BB75}"/>
              </a:ext>
            </a:extLst>
          </p:cNvPr>
          <p:cNvSpPr/>
          <p:nvPr/>
        </p:nvSpPr>
        <p:spPr>
          <a:xfrm>
            <a:off x="2480429" y="908720"/>
            <a:ext cx="2088232" cy="18802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7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НИОКР </a:t>
            </a:r>
            <a:r>
              <a:rPr lang="ru-RU" sz="17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по разработке и </a:t>
            </a:r>
            <a:r>
              <a:rPr lang="ru-RU" sz="17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госрегистрации</a:t>
            </a:r>
            <a:r>
              <a:rPr lang="ru-RU" sz="17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продукции </a:t>
            </a:r>
            <a:r>
              <a:rPr lang="ru-RU" sz="17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с Y-90 в странах СНГ </a:t>
            </a:r>
          </a:p>
          <a:p>
            <a:pPr algn="ctr"/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0B1C7BB7-E55D-44F0-B3E1-257BE5436754}"/>
              </a:ext>
            </a:extLst>
          </p:cNvPr>
          <p:cNvSpPr/>
          <p:nvPr/>
        </p:nvSpPr>
        <p:spPr>
          <a:xfrm>
            <a:off x="4638836" y="722313"/>
            <a:ext cx="2088232" cy="184259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7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Организация производственных </a:t>
            </a:r>
            <a:r>
              <a:rPr lang="ru-RU" sz="17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радиофармацевтических </a:t>
            </a:r>
            <a:r>
              <a:rPr lang="ru-RU" sz="17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комплексов</a:t>
            </a:r>
            <a:endParaRPr lang="ru-RU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F119EBF-5868-49A6-BEB8-4F5C24D2CBFC}"/>
              </a:ext>
            </a:extLst>
          </p:cNvPr>
          <p:cNvSpPr/>
          <p:nvPr/>
        </p:nvSpPr>
        <p:spPr>
          <a:xfrm>
            <a:off x="4644008" y="3200196"/>
            <a:ext cx="2153235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00" dirty="0">
                <a:latin typeface="+mj-lt"/>
              </a:rPr>
              <a:t>Проектировани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00" dirty="0">
                <a:latin typeface="+mj-lt"/>
              </a:rPr>
              <a:t>Строительство/реконструкция производственного комплекс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00" dirty="0">
                <a:latin typeface="+mj-lt"/>
              </a:rPr>
              <a:t>Оснащение оборудованием и пусконаладк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00" dirty="0">
                <a:latin typeface="+mj-lt"/>
              </a:rPr>
              <a:t>Валидация производств по требованиям GM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00" dirty="0">
                <a:latin typeface="+mj-lt"/>
              </a:rPr>
              <a:t>Получение разрешительной документац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00" dirty="0">
                <a:latin typeface="+mj-lt"/>
              </a:rPr>
              <a:t>Подготовка  персонала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F27BC8A4-F217-4571-BB0B-C546673183B6}"/>
              </a:ext>
            </a:extLst>
          </p:cNvPr>
          <p:cNvSpPr/>
          <p:nvPr/>
        </p:nvSpPr>
        <p:spPr>
          <a:xfrm>
            <a:off x="7343800" y="0"/>
            <a:ext cx="1800200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>
            <a:extLst>
              <a:ext uri="{FF2B5EF4-FFF2-40B4-BE49-F238E27FC236}">
                <a16:creationId xmlns="" xmlns:a16="http://schemas.microsoft.com/office/drawing/2014/main" id="{A77B8105-94BB-42D8-ACE7-402BE0D887E7}"/>
              </a:ext>
            </a:extLst>
          </p:cNvPr>
          <p:cNvSpPr/>
          <p:nvPr/>
        </p:nvSpPr>
        <p:spPr>
          <a:xfrm>
            <a:off x="6797243" y="476672"/>
            <a:ext cx="2088232" cy="18355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7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Мероприятия по маркетингу и внедрению </a:t>
            </a:r>
            <a:r>
              <a:rPr lang="ru-RU" sz="17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продукции</a:t>
            </a:r>
            <a:endParaRPr lang="ru-RU" sz="17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="" xmlns:a16="http://schemas.microsoft.com/office/drawing/2014/main" id="{D9C13A7B-D7C2-45EF-9F1B-AD5BDE978095}"/>
              </a:ext>
            </a:extLst>
          </p:cNvPr>
          <p:cNvSpPr/>
          <p:nvPr/>
        </p:nvSpPr>
        <p:spPr>
          <a:xfrm>
            <a:off x="715698" y="612067"/>
            <a:ext cx="1152128" cy="551791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>
                <a:solidFill>
                  <a:srgbClr val="002060"/>
                </a:solidFill>
              </a:rPr>
              <a:t>1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D1D39110-C30C-4351-A4FE-87A1A2720D4F}"/>
              </a:ext>
            </a:extLst>
          </p:cNvPr>
          <p:cNvSpPr/>
          <p:nvPr/>
        </p:nvSpPr>
        <p:spPr>
          <a:xfrm>
            <a:off x="2948481" y="332656"/>
            <a:ext cx="1152128" cy="72008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>
                <a:solidFill>
                  <a:srgbClr val="002060"/>
                </a:solidFill>
              </a:rPr>
              <a:t>2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90907643-0951-47D0-A130-63BB4A5F091E}"/>
              </a:ext>
            </a:extLst>
          </p:cNvPr>
          <p:cNvSpPr/>
          <p:nvPr/>
        </p:nvSpPr>
        <p:spPr>
          <a:xfrm>
            <a:off x="5106888" y="116632"/>
            <a:ext cx="1152128" cy="72008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>
                <a:solidFill>
                  <a:srgbClr val="002060"/>
                </a:solidFill>
              </a:rPr>
              <a:t>3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="" xmlns:a16="http://schemas.microsoft.com/office/drawing/2014/main" id="{9DC4CD05-843B-483D-84BC-FF6067989913}"/>
              </a:ext>
            </a:extLst>
          </p:cNvPr>
          <p:cNvSpPr/>
          <p:nvPr/>
        </p:nvSpPr>
        <p:spPr>
          <a:xfrm>
            <a:off x="7164288" y="-99392"/>
            <a:ext cx="1152128" cy="72008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>
                <a:solidFill>
                  <a:srgbClr val="002060"/>
                </a:solidFill>
              </a:rPr>
              <a:t>4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46208" y="3448159"/>
            <a:ext cx="2160240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00" dirty="0" smtClean="0">
                <a:latin typeface="+mj-lt"/>
              </a:rPr>
              <a:t>Административные решения по использовани</a:t>
            </a:r>
            <a:r>
              <a:rPr lang="ru-RU" sz="1300" dirty="0" smtClean="0">
                <a:latin typeface="Calibri Light" pitchFamily="34" charset="0"/>
                <a:cs typeface="Calibri Light" pitchFamily="34" charset="0"/>
              </a:rPr>
              <a:t>ю </a:t>
            </a:r>
            <a:r>
              <a:rPr lang="ru-RU" sz="1300" dirty="0">
                <a:latin typeface="Calibri Light" pitchFamily="34" charset="0"/>
                <a:cs typeface="Calibri Light" pitchFamily="34" charset="0"/>
              </a:rPr>
              <a:t> </a:t>
            </a:r>
            <a:r>
              <a:rPr lang="en-US" sz="1300" dirty="0" err="1">
                <a:latin typeface="Calibri Light" pitchFamily="34" charset="0"/>
                <a:cs typeface="Calibri Light" pitchFamily="34" charset="0"/>
              </a:rPr>
              <a:t>Sr</a:t>
            </a:r>
            <a:r>
              <a:rPr lang="ru-RU" sz="1300" dirty="0">
                <a:latin typeface="Calibri Light" pitchFamily="34" charset="0"/>
                <a:cs typeface="Calibri Light" pitchFamily="34" charset="0"/>
              </a:rPr>
              <a:t>-90 для загрузки в </a:t>
            </a:r>
            <a:r>
              <a:rPr lang="ru-RU" sz="1300" baseline="30000" dirty="0">
                <a:latin typeface="Calibri Light" pitchFamily="34" charset="0"/>
                <a:cs typeface="Calibri Light" pitchFamily="34" charset="0"/>
              </a:rPr>
              <a:t>90</a:t>
            </a:r>
            <a:r>
              <a:rPr lang="en-US" sz="1300" dirty="0" err="1" smtClean="0">
                <a:latin typeface="Calibri Light" pitchFamily="34" charset="0"/>
                <a:cs typeface="Calibri Light" pitchFamily="34" charset="0"/>
              </a:rPr>
              <a:t>Sr</a:t>
            </a:r>
            <a:r>
              <a:rPr lang="ru-RU" sz="1300" dirty="0">
                <a:latin typeface="Calibri Light" pitchFamily="34" charset="0"/>
                <a:cs typeface="Calibri Light" pitchFamily="34" charset="0"/>
              </a:rPr>
              <a:t>/</a:t>
            </a:r>
            <a:r>
              <a:rPr lang="ru-RU" sz="1300" baseline="30000" dirty="0">
                <a:latin typeface="Calibri Light" pitchFamily="34" charset="0"/>
                <a:cs typeface="Calibri Light" pitchFamily="34" charset="0"/>
              </a:rPr>
              <a:t>90</a:t>
            </a:r>
            <a:r>
              <a:rPr lang="en-US" sz="1300" dirty="0" smtClean="0">
                <a:latin typeface="Calibri Light" pitchFamily="34" charset="0"/>
                <a:cs typeface="Calibri Light" pitchFamily="34" charset="0"/>
              </a:rPr>
              <a:t>Y</a:t>
            </a:r>
            <a:r>
              <a:rPr lang="ru-RU" sz="1300" dirty="0" smtClean="0">
                <a:latin typeface="Calibri Light" pitchFamily="34" charset="0"/>
                <a:cs typeface="Calibri Light" pitchFamily="34" charset="0"/>
              </a:rPr>
              <a:t> в объеме коммерческого спрос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00" dirty="0" smtClean="0">
                <a:latin typeface="Calibri Light" pitchFamily="34" charset="0"/>
                <a:cs typeface="Calibri Light" pitchFamily="34" charset="0"/>
              </a:rPr>
              <a:t>Решение задач радиолиза при высокой загрузке </a:t>
            </a:r>
            <a:r>
              <a:rPr lang="ru-RU" sz="1300" dirty="0" smtClean="0">
                <a:latin typeface="+mj-lt"/>
              </a:rPr>
              <a:t>генератора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00" dirty="0" smtClean="0">
                <a:latin typeface="+mj-lt"/>
              </a:rPr>
              <a:t>Отработка технологии с целью повышения качества продукции и стабильной </a:t>
            </a:r>
            <a:r>
              <a:rPr lang="ru-RU" sz="1300" dirty="0" err="1" smtClean="0">
                <a:latin typeface="+mj-lt"/>
              </a:rPr>
              <a:t>воспроизводимости</a:t>
            </a:r>
            <a:r>
              <a:rPr lang="ru-RU" sz="1300" dirty="0" smtClean="0">
                <a:latin typeface="+mj-lt"/>
              </a:rPr>
              <a:t> параметров качеств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300" dirty="0">
              <a:latin typeface="+mj-lt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="" xmlns:a16="http://schemas.microsoft.com/office/drawing/2014/main" id="{4F119EBF-5868-49A6-BEB8-4F5C24D2CBFC}"/>
              </a:ext>
            </a:extLst>
          </p:cNvPr>
          <p:cNvSpPr/>
          <p:nvPr/>
        </p:nvSpPr>
        <p:spPr>
          <a:xfrm>
            <a:off x="2490773" y="3501008"/>
            <a:ext cx="2009219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00" dirty="0">
                <a:latin typeface="+mj-lt"/>
              </a:rPr>
              <a:t>НИОКР по разработке препарат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00" dirty="0">
                <a:latin typeface="+mj-lt"/>
              </a:rPr>
              <a:t>Доклинические и клинические испыта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00" dirty="0" err="1">
                <a:latin typeface="+mj-lt"/>
              </a:rPr>
              <a:t>Госрегистрация</a:t>
            </a:r>
            <a:r>
              <a:rPr lang="ru-RU" sz="1300" dirty="0">
                <a:latin typeface="+mj-lt"/>
              </a:rPr>
              <a:t> в государствах-участниках СНГ</a:t>
            </a:r>
          </a:p>
        </p:txBody>
      </p:sp>
      <p:sp>
        <p:nvSpPr>
          <p:cNvPr id="22" name="Вертикальный свиток 21"/>
          <p:cNvSpPr/>
          <p:nvPr/>
        </p:nvSpPr>
        <p:spPr>
          <a:xfrm>
            <a:off x="6479704" y="2348880"/>
            <a:ext cx="2664296" cy="3404006"/>
          </a:xfrm>
          <a:prstGeom prst="verticalScroll">
            <a:avLst/>
          </a:prstGeom>
          <a:solidFill>
            <a:schemeClr val="accent1">
              <a:alpha val="2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>
            <a:extLst>
              <a:ext uri="{FF2B5EF4-FFF2-40B4-BE49-F238E27FC236}">
                <a16:creationId xmlns="" xmlns:a16="http://schemas.microsoft.com/office/drawing/2014/main" id="{4F119EBF-5868-49A6-BEB8-4F5C24D2CBFC}"/>
              </a:ext>
            </a:extLst>
          </p:cNvPr>
          <p:cNvSpPr/>
          <p:nvPr/>
        </p:nvSpPr>
        <p:spPr>
          <a:xfrm>
            <a:off x="6764742" y="2924944"/>
            <a:ext cx="2120734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00" dirty="0" smtClean="0">
                <a:latin typeface="+mj-lt"/>
              </a:rPr>
              <a:t>Работа с </a:t>
            </a:r>
            <a:r>
              <a:rPr lang="ru-RU" sz="1300" dirty="0">
                <a:latin typeface="+mj-lt"/>
              </a:rPr>
              <a:t>врачам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00" dirty="0">
                <a:latin typeface="+mj-lt"/>
              </a:rPr>
              <a:t>создание рекламной </a:t>
            </a:r>
            <a:r>
              <a:rPr lang="ru-RU" sz="1300" dirty="0" smtClean="0">
                <a:latin typeface="+mj-lt"/>
              </a:rPr>
              <a:t>продукц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00" dirty="0" smtClean="0">
                <a:latin typeface="+mj-lt"/>
              </a:rPr>
              <a:t>Создание механизма </a:t>
            </a:r>
            <a:r>
              <a:rPr lang="ru-RU" sz="1300" dirty="0">
                <a:latin typeface="+mj-lt"/>
              </a:rPr>
              <a:t>государственной компенсации за </a:t>
            </a:r>
            <a:r>
              <a:rPr lang="ru-RU" sz="1300" dirty="0" smtClean="0">
                <a:latin typeface="+mj-lt"/>
              </a:rPr>
              <a:t>медицинскую услугу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00" dirty="0" smtClean="0">
                <a:latin typeface="+mj-lt"/>
              </a:rPr>
              <a:t>Разработка методических </a:t>
            </a:r>
            <a:r>
              <a:rPr lang="ru-RU" sz="1300" dirty="0">
                <a:latin typeface="+mj-lt"/>
              </a:rPr>
              <a:t>рекомендаций клинического применения </a:t>
            </a:r>
            <a:r>
              <a:rPr lang="ru-RU" sz="1300" dirty="0" smtClean="0">
                <a:latin typeface="+mj-lt"/>
              </a:rPr>
              <a:t>продукц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00" dirty="0" smtClean="0">
                <a:latin typeface="+mj-lt"/>
              </a:rPr>
              <a:t>и др. </a:t>
            </a:r>
            <a:endParaRPr lang="ru-RU" sz="13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12823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64D0DBCB-E8CA-434B-8BA1-4CFFA208E8A0}"/>
              </a:ext>
            </a:extLst>
          </p:cNvPr>
          <p:cNvSpPr txBox="1"/>
          <p:nvPr/>
        </p:nvSpPr>
        <p:spPr>
          <a:xfrm>
            <a:off x="395536" y="423454"/>
            <a:ext cx="49444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ru-RU" sz="2400" b="1" dirty="0">
                <a:solidFill>
                  <a:srgbClr val="002060"/>
                </a:solidFill>
                <a:latin typeface="+mj-lt"/>
              </a:rPr>
              <a:t>УЧАСТНИКИ ПРОЕКТА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4FE8B05C-D825-4893-9CFC-8EE9FD0697B4}"/>
              </a:ext>
            </a:extLst>
          </p:cNvPr>
          <p:cNvSpPr/>
          <p:nvPr/>
        </p:nvSpPr>
        <p:spPr>
          <a:xfrm>
            <a:off x="179512" y="1412776"/>
            <a:ext cx="2880320" cy="93610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700" dirty="0">
                <a:solidFill>
                  <a:srgbClr val="002060"/>
                </a:solidFill>
                <a:latin typeface="+mj-lt"/>
              </a:rPr>
              <a:t>ГК Росатом и его профильные институты/предприятия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D81D6B5A-954E-4FF0-9B45-3151B78B4D7F}"/>
              </a:ext>
            </a:extLst>
          </p:cNvPr>
          <p:cNvSpPr/>
          <p:nvPr/>
        </p:nvSpPr>
        <p:spPr>
          <a:xfrm>
            <a:off x="-394506" y="2800353"/>
            <a:ext cx="347637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+mj-lt"/>
              </a:rPr>
              <a:t>компетенции в области производства изотопов и РФП/МИ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+mj-lt"/>
              </a:rPr>
              <a:t>Генеральный </a:t>
            </a:r>
            <a:r>
              <a:rPr lang="ru-RU" sz="1400" dirty="0">
                <a:latin typeface="+mj-lt"/>
              </a:rPr>
              <a:t>исполнитель НИОКР по совершенствованию технологии генераторного способа получения Y-90 - ФГУП ГНЦ-РФ ФЭИ, имеется технологический задел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="" xmlns:a16="http://schemas.microsoft.com/office/drawing/2014/main" id="{12EE4A78-BBE4-41C3-A237-22763CE48F10}"/>
              </a:ext>
            </a:extLst>
          </p:cNvPr>
          <p:cNvSpPr/>
          <p:nvPr/>
        </p:nvSpPr>
        <p:spPr>
          <a:xfrm>
            <a:off x="3169382" y="1412776"/>
            <a:ext cx="2880320" cy="93610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700" dirty="0">
                <a:solidFill>
                  <a:srgbClr val="002060"/>
                </a:solidFill>
                <a:latin typeface="+mj-lt"/>
              </a:rPr>
              <a:t>Предприятия атомной энергетики стран СНГ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A71BECC5-5F3A-475A-B5AE-A8D74D641DF5}"/>
              </a:ext>
            </a:extLst>
          </p:cNvPr>
          <p:cNvSpPr/>
          <p:nvPr/>
        </p:nvSpPr>
        <p:spPr>
          <a:xfrm>
            <a:off x="3174604" y="2800353"/>
            <a:ext cx="288032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+mj-lt"/>
              </a:rPr>
              <a:t>имеется инфраструктура и компетенцией в области производства медицинской радиоизотопной продукцией, на базе которых предполагается размещение радиофармацевтических комплексов по выпуску продукции  на основе Y-90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5A725F2B-33E2-416E-86E3-247A96038339}"/>
              </a:ext>
            </a:extLst>
          </p:cNvPr>
          <p:cNvSpPr/>
          <p:nvPr/>
        </p:nvSpPr>
        <p:spPr>
          <a:xfrm>
            <a:off x="6159252" y="1424608"/>
            <a:ext cx="2880320" cy="93610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700" dirty="0">
                <a:solidFill>
                  <a:srgbClr val="002060"/>
                </a:solidFill>
                <a:latin typeface="+mj-lt"/>
              </a:rPr>
              <a:t>ФМБА и Минздрав РФ и их профильные институты 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="" xmlns:a16="http://schemas.microsoft.com/office/drawing/2014/main" id="{EB8CB628-2E6F-47B9-94FB-C8C7E9CADB79}"/>
              </a:ext>
            </a:extLst>
          </p:cNvPr>
          <p:cNvSpPr/>
          <p:nvPr/>
        </p:nvSpPr>
        <p:spPr>
          <a:xfrm>
            <a:off x="6147656" y="2805422"/>
            <a:ext cx="288032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+mj-lt"/>
              </a:rPr>
              <a:t>реализация радиофармацевтической стадии разработки РФП/МИ из предлагаемой номенклатуры, организация и проведение доклинических и клинических исследований, формирование медицинских рекомендаций и стандартов применения РФП/МИ на основе Y-90 с вовлечением компетенций ФГУП ГНЦ-РФ «Федеральный Медицинский Биофизический Центр </a:t>
            </a:r>
            <a:r>
              <a:rPr lang="ru-RU" sz="1400" dirty="0" err="1">
                <a:latin typeface="+mj-lt"/>
              </a:rPr>
              <a:t>им.А.И</a:t>
            </a:r>
            <a:r>
              <a:rPr lang="ru-RU" sz="1400" dirty="0">
                <a:latin typeface="+mj-lt"/>
              </a:rPr>
              <a:t>. </a:t>
            </a:r>
            <a:r>
              <a:rPr lang="ru-RU" sz="1400" dirty="0" err="1">
                <a:latin typeface="+mj-lt"/>
              </a:rPr>
              <a:t>Бурназяна</a:t>
            </a:r>
            <a:r>
              <a:rPr lang="ru-RU" sz="1400" dirty="0">
                <a:latin typeface="+mj-lt"/>
              </a:rPr>
              <a:t>» ФМБА России и ФГУП «Федеральный центр по проектированию и развитию объектов ядерной медицины» ФМБА России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4FE8B05C-D825-4893-9CFC-8EE9FD0697B4}"/>
              </a:ext>
            </a:extLst>
          </p:cNvPr>
          <p:cNvSpPr/>
          <p:nvPr/>
        </p:nvSpPr>
        <p:spPr>
          <a:xfrm>
            <a:off x="179512" y="2420888"/>
            <a:ext cx="2880320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ru-RU" sz="1400" b="1" dirty="0">
                <a:solidFill>
                  <a:srgbClr val="C00000"/>
                </a:solidFill>
              </a:rPr>
              <a:t>Этапы 1, 2, 3, 4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="" xmlns:a16="http://schemas.microsoft.com/office/drawing/2014/main" id="{4FE8B05C-D825-4893-9CFC-8EE9FD0697B4}"/>
              </a:ext>
            </a:extLst>
          </p:cNvPr>
          <p:cNvSpPr/>
          <p:nvPr/>
        </p:nvSpPr>
        <p:spPr>
          <a:xfrm>
            <a:off x="3174604" y="2428030"/>
            <a:ext cx="2880320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ru-RU" sz="1400" b="1" dirty="0">
                <a:solidFill>
                  <a:srgbClr val="C00000"/>
                </a:solidFill>
              </a:rPr>
              <a:t>Этапы </a:t>
            </a:r>
            <a:r>
              <a:rPr lang="ru-RU" sz="1400" b="1" dirty="0" smtClean="0">
                <a:solidFill>
                  <a:srgbClr val="C00000"/>
                </a:solidFill>
              </a:rPr>
              <a:t>2</a:t>
            </a:r>
            <a:r>
              <a:rPr lang="ru-RU" sz="1400" b="1" dirty="0">
                <a:solidFill>
                  <a:srgbClr val="C00000"/>
                </a:solidFill>
              </a:rPr>
              <a:t>, 3, 4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="" xmlns:a16="http://schemas.microsoft.com/office/drawing/2014/main" id="{4FE8B05C-D825-4893-9CFC-8EE9FD0697B4}"/>
              </a:ext>
            </a:extLst>
          </p:cNvPr>
          <p:cNvSpPr/>
          <p:nvPr/>
        </p:nvSpPr>
        <p:spPr>
          <a:xfrm>
            <a:off x="6187350" y="2428030"/>
            <a:ext cx="2880320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ru-RU" sz="1400" b="1" dirty="0">
                <a:solidFill>
                  <a:srgbClr val="C00000"/>
                </a:solidFill>
              </a:rPr>
              <a:t>Этапы </a:t>
            </a:r>
            <a:r>
              <a:rPr lang="ru-RU" sz="1400" b="1" dirty="0" smtClean="0">
                <a:solidFill>
                  <a:srgbClr val="C00000"/>
                </a:solidFill>
              </a:rPr>
              <a:t>2</a:t>
            </a:r>
            <a:r>
              <a:rPr lang="ru-RU" sz="1400" b="1" dirty="0">
                <a:solidFill>
                  <a:srgbClr val="C00000"/>
                </a:solidFill>
              </a:rPr>
              <a:t>, </a:t>
            </a:r>
            <a:r>
              <a:rPr lang="ru-RU" sz="1400" b="1" dirty="0" smtClean="0">
                <a:solidFill>
                  <a:srgbClr val="C00000"/>
                </a:solidFill>
              </a:rPr>
              <a:t>4</a:t>
            </a:r>
            <a:endParaRPr lang="ru-RU" sz="14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32794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64D0DBCB-E8CA-434B-8BA1-4CFFA208E8A0}"/>
              </a:ext>
            </a:extLst>
          </p:cNvPr>
          <p:cNvSpPr txBox="1"/>
          <p:nvPr/>
        </p:nvSpPr>
        <p:spPr>
          <a:xfrm>
            <a:off x="395536" y="423454"/>
            <a:ext cx="49444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ru-RU" sz="2400" b="1" dirty="0">
                <a:solidFill>
                  <a:srgbClr val="002060"/>
                </a:solidFill>
                <a:latin typeface="+mj-lt"/>
              </a:rPr>
              <a:t>УЧАСТНИКИ ПРОЕКТА 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4FE8B05C-D825-4893-9CFC-8EE9FD0697B4}"/>
              </a:ext>
            </a:extLst>
          </p:cNvPr>
          <p:cNvSpPr/>
          <p:nvPr/>
        </p:nvSpPr>
        <p:spPr>
          <a:xfrm>
            <a:off x="179512" y="1766739"/>
            <a:ext cx="3744416" cy="93610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700" dirty="0">
                <a:solidFill>
                  <a:srgbClr val="002060"/>
                </a:solidFill>
                <a:latin typeface="+mj-lt"/>
              </a:rPr>
              <a:t>Частные компании </a:t>
            </a:r>
          </a:p>
          <a:p>
            <a:r>
              <a:rPr lang="ru-RU" sz="1700" dirty="0">
                <a:solidFill>
                  <a:srgbClr val="002060"/>
                </a:solidFill>
                <a:latin typeface="+mj-lt"/>
              </a:rPr>
              <a:t>(</a:t>
            </a:r>
            <a:r>
              <a:rPr lang="ru-RU" sz="1700" dirty="0" err="1">
                <a:solidFill>
                  <a:srgbClr val="002060"/>
                </a:solidFill>
                <a:latin typeface="+mj-lt"/>
              </a:rPr>
              <a:t>Фарм</a:t>
            </a:r>
            <a:r>
              <a:rPr lang="ru-RU" sz="1700" dirty="0">
                <a:solidFill>
                  <a:srgbClr val="002060"/>
                </a:solidFill>
                <a:latin typeface="+mj-lt"/>
              </a:rPr>
              <a:t> Синтез, </a:t>
            </a:r>
            <a:r>
              <a:rPr lang="ru-RU" sz="1700" dirty="0" err="1">
                <a:solidFill>
                  <a:srgbClr val="002060"/>
                </a:solidFill>
                <a:latin typeface="+mj-lt"/>
              </a:rPr>
              <a:t>Биокад</a:t>
            </a:r>
            <a:r>
              <a:rPr lang="ru-RU" sz="1700" dirty="0">
                <a:solidFill>
                  <a:srgbClr val="002060"/>
                </a:solidFill>
                <a:latin typeface="+mj-lt"/>
              </a:rPr>
              <a:t> и др.). 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D81D6B5A-954E-4FF0-9B45-3151B78B4D7F}"/>
              </a:ext>
            </a:extLst>
          </p:cNvPr>
          <p:cNvSpPr/>
          <p:nvPr/>
        </p:nvSpPr>
        <p:spPr>
          <a:xfrm>
            <a:off x="-324544" y="2800353"/>
            <a:ext cx="424847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ru-RU" sz="1400" dirty="0">
                <a:latin typeface="+mj-lt"/>
              </a:rPr>
              <a:t>Основным функционалом данных структур будет разработка и коммерциализация РФП/МИ на основе Y-90, и их коммерческое продвижение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5A725F2B-33E2-416E-86E3-247A96038339}"/>
              </a:ext>
            </a:extLst>
          </p:cNvPr>
          <p:cNvSpPr/>
          <p:nvPr/>
        </p:nvSpPr>
        <p:spPr>
          <a:xfrm>
            <a:off x="4355976" y="1778571"/>
            <a:ext cx="4683596" cy="93610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700" dirty="0">
                <a:solidFill>
                  <a:srgbClr val="002060"/>
                </a:solidFill>
                <a:latin typeface="+mj-lt"/>
              </a:rPr>
              <a:t>Медучреждения для проведения клинических испытаний РФП/МИ 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="" xmlns:a16="http://schemas.microsoft.com/office/drawing/2014/main" id="{EB8CB628-2E6F-47B9-94FB-C8C7E9CADB79}"/>
              </a:ext>
            </a:extLst>
          </p:cNvPr>
          <p:cNvSpPr/>
          <p:nvPr/>
        </p:nvSpPr>
        <p:spPr>
          <a:xfrm>
            <a:off x="4355976" y="2805422"/>
            <a:ext cx="467200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+mj-lt"/>
              </a:rPr>
              <a:t>«МРНЦ им. А.Ф. Цыба», филиал ФГБУ «НМИРЦ им. П.А. Герцена» Минздрава России, г. Обнинск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+mj-lt"/>
              </a:rPr>
              <a:t>ФГУ "Российский научный центр радиологии и хирургических технологий" Минздрава России, г. С.-Петербург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+mj-lt"/>
              </a:rPr>
              <a:t>Национальный </a:t>
            </a:r>
            <a:r>
              <a:rPr lang="ru-RU" sz="1400" dirty="0" err="1">
                <a:latin typeface="+mj-lt"/>
              </a:rPr>
              <a:t>онкоцентр</a:t>
            </a:r>
            <a:r>
              <a:rPr lang="ru-RU" sz="1400" dirty="0">
                <a:latin typeface="+mj-lt"/>
              </a:rPr>
              <a:t> в г. Астана или Региональный онкологический центр г. Семей, либо Казахский НИИ онкологии и радиологии </a:t>
            </a:r>
            <a:r>
              <a:rPr lang="ru-RU" sz="1400" dirty="0" err="1">
                <a:latin typeface="+mj-lt"/>
              </a:rPr>
              <a:t>г.Алматы</a:t>
            </a:r>
            <a:r>
              <a:rPr lang="ru-RU" sz="1400" dirty="0">
                <a:latin typeface="+mj-lt"/>
              </a:rPr>
              <a:t>, Казахстан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+mj-lt"/>
              </a:rPr>
              <a:t>Гомельский </a:t>
            </a:r>
            <a:r>
              <a:rPr lang="ru-RU" sz="1400" dirty="0">
                <a:latin typeface="+mj-lt"/>
              </a:rPr>
              <a:t>областной онкодиспансер, Беларусь</a:t>
            </a:r>
            <a:r>
              <a:rPr lang="ru-RU" sz="1400" dirty="0" smtClean="0">
                <a:latin typeface="+mj-lt"/>
              </a:rPr>
              <a:t>;</a:t>
            </a:r>
            <a:endParaRPr lang="ru-RU" sz="1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6808475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A480F2C9-182D-4778-86DF-CB3E073AF1B6}"/>
              </a:ext>
            </a:extLst>
          </p:cNvPr>
          <p:cNvSpPr txBox="1"/>
          <p:nvPr/>
        </p:nvSpPr>
        <p:spPr>
          <a:xfrm>
            <a:off x="411341" y="116632"/>
            <a:ext cx="49444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ru-RU" sz="2400" b="1" dirty="0" smtClean="0">
                <a:solidFill>
                  <a:srgbClr val="002060"/>
                </a:solidFill>
                <a:latin typeface="+mj-lt"/>
              </a:rPr>
              <a:t>СРОКИ РЕАЛИЗАЦИИ ПРОЕКТА</a:t>
            </a:r>
            <a:endParaRPr lang="ru-RU" sz="2400" b="1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F27BC8A4-F217-4571-BB0B-C546673183B6}"/>
              </a:ext>
            </a:extLst>
          </p:cNvPr>
          <p:cNvSpPr/>
          <p:nvPr/>
        </p:nvSpPr>
        <p:spPr>
          <a:xfrm>
            <a:off x="7343800" y="0"/>
            <a:ext cx="1800200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7800418"/>
              </p:ext>
            </p:extLst>
          </p:nvPr>
        </p:nvGraphicFramePr>
        <p:xfrm>
          <a:off x="25126" y="548680"/>
          <a:ext cx="9083378" cy="6261546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522538"/>
                <a:gridCol w="792088"/>
                <a:gridCol w="504056"/>
                <a:gridCol w="504056"/>
                <a:gridCol w="720080"/>
                <a:gridCol w="597636"/>
                <a:gridCol w="351871"/>
                <a:gridCol w="405841"/>
                <a:gridCol w="652944"/>
                <a:gridCol w="652944"/>
                <a:gridCol w="428064"/>
                <a:gridCol w="548177"/>
                <a:gridCol w="428064"/>
                <a:gridCol w="428064"/>
                <a:gridCol w="546955"/>
              </a:tblGrid>
              <a:tr h="240911">
                <a:tc rowSpan="2">
                  <a:txBody>
                    <a:bodyPr/>
                    <a:lstStyle/>
                    <a:p>
                      <a:pPr indent="0" algn="ctr">
                        <a:lnSpc>
                          <a:spcPct val="130000"/>
                        </a:lnSpc>
                        <a:spcAft>
                          <a:spcPts val="1000"/>
                        </a:spcAft>
                      </a:pPr>
                      <a:r>
                        <a:rPr lang="ru-RU" sz="1600" b="1" dirty="0">
                          <a:effectLst/>
                        </a:rPr>
                        <a:t>Этап</a:t>
                      </a:r>
                      <a:endParaRPr lang="ru-RU" sz="1600" b="1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52690" marR="52690" marT="26345" marB="26345">
                    <a:solidFill>
                      <a:srgbClr val="0070C0"/>
                    </a:solidFill>
                  </a:tcPr>
                </a:tc>
                <a:tc gridSpan="14">
                  <a:txBody>
                    <a:bodyPr/>
                    <a:lstStyle/>
                    <a:p>
                      <a:pPr indent="0" algn="ctr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</a:rPr>
                        <a:t>Срок, годы</a:t>
                      </a:r>
                      <a:endParaRPr lang="ru-RU" sz="1600" b="1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52690" marR="52690" marT="26345" marB="26345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2367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3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solidFill>
                            <a:srgbClr val="C00000"/>
                          </a:solidFill>
                          <a:effectLst/>
                        </a:rPr>
                        <a:t>0,5</a:t>
                      </a:r>
                      <a:endParaRPr lang="ru-RU" sz="1400" b="1" dirty="0">
                        <a:solidFill>
                          <a:srgbClr val="C00000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52690" marR="52690" marT="26345" marB="26345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3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solidFill>
                            <a:srgbClr val="C00000"/>
                          </a:solidFill>
                          <a:effectLst/>
                        </a:rPr>
                        <a:t>1</a:t>
                      </a:r>
                      <a:endParaRPr lang="ru-RU" sz="1400" b="1" dirty="0">
                        <a:solidFill>
                          <a:srgbClr val="C00000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52690" marR="52690" marT="26345" marB="26345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3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solidFill>
                            <a:srgbClr val="C00000"/>
                          </a:solidFill>
                          <a:effectLst/>
                        </a:rPr>
                        <a:t>1,5</a:t>
                      </a:r>
                      <a:endParaRPr lang="ru-RU" sz="1400" b="1" dirty="0">
                        <a:solidFill>
                          <a:srgbClr val="C00000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52690" marR="52690" marT="26345" marB="26345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3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solidFill>
                            <a:srgbClr val="C00000"/>
                          </a:solidFill>
                          <a:effectLst/>
                        </a:rPr>
                        <a:t>2</a:t>
                      </a:r>
                      <a:endParaRPr lang="ru-RU" sz="1400" b="1" dirty="0">
                        <a:solidFill>
                          <a:srgbClr val="C00000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52690" marR="52690" marT="26345" marB="26345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3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solidFill>
                            <a:srgbClr val="C00000"/>
                          </a:solidFill>
                          <a:effectLst/>
                        </a:rPr>
                        <a:t>2,5</a:t>
                      </a:r>
                      <a:endParaRPr lang="ru-RU" sz="1400" b="1" dirty="0">
                        <a:solidFill>
                          <a:srgbClr val="C00000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52690" marR="52690" marT="26345" marB="26345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3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solidFill>
                            <a:srgbClr val="C00000"/>
                          </a:solidFill>
                          <a:effectLst/>
                        </a:rPr>
                        <a:t>3</a:t>
                      </a:r>
                      <a:endParaRPr lang="ru-RU" sz="1400" b="1" dirty="0">
                        <a:solidFill>
                          <a:srgbClr val="C00000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52690" marR="52690" marT="26345" marB="26345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3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solidFill>
                            <a:srgbClr val="C00000"/>
                          </a:solidFill>
                          <a:effectLst/>
                        </a:rPr>
                        <a:t>3,5</a:t>
                      </a:r>
                      <a:endParaRPr lang="ru-RU" sz="1400" b="1" dirty="0">
                        <a:solidFill>
                          <a:srgbClr val="C00000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52690" marR="52690" marT="26345" marB="26345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3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solidFill>
                            <a:srgbClr val="C00000"/>
                          </a:solidFill>
                          <a:effectLst/>
                        </a:rPr>
                        <a:t>4</a:t>
                      </a:r>
                      <a:endParaRPr lang="ru-RU" sz="1400" b="1" dirty="0">
                        <a:solidFill>
                          <a:srgbClr val="C00000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52690" marR="52690" marT="26345" marB="26345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3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solidFill>
                            <a:srgbClr val="C00000"/>
                          </a:solidFill>
                          <a:effectLst/>
                        </a:rPr>
                        <a:t>4,5</a:t>
                      </a:r>
                      <a:endParaRPr lang="ru-RU" sz="1400" b="1" dirty="0">
                        <a:solidFill>
                          <a:srgbClr val="C00000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52690" marR="52690" marT="26345" marB="26345"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C00000"/>
                          </a:solidFill>
                          <a:effectLst/>
                        </a:rPr>
                        <a:t>5</a:t>
                      </a:r>
                      <a:endParaRPr lang="ru-RU" sz="1400" b="1" dirty="0">
                        <a:solidFill>
                          <a:srgbClr val="C00000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C00000"/>
                          </a:solidFill>
                          <a:effectLst/>
                        </a:rPr>
                        <a:t>5,5</a:t>
                      </a:r>
                      <a:endParaRPr lang="ru-RU" sz="1400" b="1" dirty="0">
                        <a:solidFill>
                          <a:srgbClr val="C00000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C00000"/>
                          </a:solidFill>
                          <a:effectLst/>
                        </a:rPr>
                        <a:t>6</a:t>
                      </a:r>
                      <a:endParaRPr lang="ru-RU" sz="1400" b="1" dirty="0">
                        <a:solidFill>
                          <a:srgbClr val="C00000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C00000"/>
                          </a:solidFill>
                          <a:effectLst/>
                        </a:rPr>
                        <a:t>6,5</a:t>
                      </a:r>
                      <a:endParaRPr lang="ru-RU" sz="1400" b="1" dirty="0">
                        <a:solidFill>
                          <a:srgbClr val="C00000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/>
                </a:tc>
              </a:tr>
              <a:tr h="797610">
                <a:tc>
                  <a:txBody>
                    <a:bodyPr/>
                    <a:lstStyle/>
                    <a:p>
                      <a:pPr indent="0" algn="just">
                        <a:lnSpc>
                          <a:spcPct val="130000"/>
                        </a:lnSpc>
                        <a:spcAft>
                          <a:spcPts val="1000"/>
                        </a:spcAft>
                      </a:pPr>
                      <a:r>
                        <a:rPr lang="ru-RU" sz="1600" b="1" dirty="0" err="1">
                          <a:effectLst/>
                        </a:rPr>
                        <a:t>Предпроект</a:t>
                      </a:r>
                      <a:endParaRPr lang="ru-RU" sz="1600" b="1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52690" marR="52690" marT="26345" marB="26345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 dirty="0">
                          <a:solidFill>
                            <a:schemeClr val="bg1"/>
                          </a:solidFill>
                          <a:effectLst/>
                        </a:rPr>
                        <a:t>Дорожная карта, бизнес-план</a:t>
                      </a: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52690" marR="52690" marT="26345" marB="26345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00000"/>
                        </a:lnSpc>
                      </a:pP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>
                  <a:txBody>
                    <a:bodyPr/>
                    <a:lstStyle/>
                    <a:p>
                      <a:endParaRPr lang="ru-RU">
                        <a:solidFill>
                          <a:schemeClr val="bg1"/>
                        </a:solidFill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>
                  <a:txBody>
                    <a:bodyPr/>
                    <a:lstStyle/>
                    <a:p>
                      <a:endParaRPr lang="ru-RU">
                        <a:solidFill>
                          <a:schemeClr val="bg1"/>
                        </a:solidFill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>
                  <a:txBody>
                    <a:bodyPr/>
                    <a:lstStyle/>
                    <a:p>
                      <a:endParaRPr lang="ru-RU">
                        <a:solidFill>
                          <a:schemeClr val="bg1"/>
                        </a:solidFill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00000"/>
                        </a:lnSpc>
                      </a:pP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00000"/>
                        </a:lnSpc>
                      </a:pP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00000"/>
                        </a:lnSpc>
                      </a:pP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00000"/>
                        </a:lnSpc>
                      </a:pP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 gridSpan="2">
                  <a:txBody>
                    <a:bodyPr/>
                    <a:lstStyle/>
                    <a:p>
                      <a:pPr indent="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>
                    <a:noFill/>
                  </a:tcPr>
                </a:tc>
                <a:tc>
                  <a:txBody>
                    <a:bodyPr/>
                    <a:lstStyle/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>
                    <a:noFill/>
                  </a:tcPr>
                </a:tc>
                <a:tc>
                  <a:txBody>
                    <a:bodyPr/>
                    <a:lstStyle/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>
                    <a:noFill/>
                  </a:tcPr>
                </a:tc>
              </a:tr>
              <a:tr h="478476">
                <a:tc rowSpan="4">
                  <a:txBody>
                    <a:bodyPr/>
                    <a:lstStyle/>
                    <a:p>
                      <a:pPr indent="0" algn="just">
                        <a:lnSpc>
                          <a:spcPct val="130000"/>
                        </a:lnSpc>
                        <a:spcAft>
                          <a:spcPts val="1000"/>
                        </a:spcAft>
                      </a:pPr>
                      <a:r>
                        <a:rPr lang="ru-RU" sz="1600" b="1" dirty="0">
                          <a:effectLst/>
                        </a:rPr>
                        <a:t>Выполнение НИОКР</a:t>
                      </a:r>
                      <a:endParaRPr lang="ru-RU" sz="1600" b="1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52690" marR="52690" marT="26345" marB="26345">
                    <a:solidFill>
                      <a:schemeClr val="bg2">
                        <a:lumMod val="75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indent="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  <a:p>
                      <a:pPr indent="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 gridSpan="2"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 dirty="0">
                          <a:solidFill>
                            <a:schemeClr val="bg1"/>
                          </a:solidFill>
                          <a:effectLst/>
                        </a:rPr>
                        <a:t>Отработка генераторной технологии</a:t>
                      </a: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>
                        <a:solidFill>
                          <a:schemeClr val="bg1"/>
                        </a:solidFill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>
                  <a:txBody>
                    <a:bodyPr/>
                    <a:lstStyle/>
                    <a:p>
                      <a:endParaRPr lang="ru-RU">
                        <a:solidFill>
                          <a:schemeClr val="bg1"/>
                        </a:solidFill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 rowSpan="3">
                  <a:txBody>
                    <a:bodyPr/>
                    <a:lstStyle/>
                    <a:p>
                      <a:pPr indent="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  <a:p>
                      <a:pPr indent="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 rowSpan="3">
                  <a:txBody>
                    <a:bodyPr/>
                    <a:lstStyle/>
                    <a:p>
                      <a:pPr indent="0">
                        <a:lnSpc>
                          <a:spcPct val="100000"/>
                        </a:lnSpc>
                      </a:pP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 rowSpan="3">
                  <a:txBody>
                    <a:bodyPr/>
                    <a:lstStyle/>
                    <a:p>
                      <a:pPr indent="0">
                        <a:lnSpc>
                          <a:spcPct val="100000"/>
                        </a:lnSpc>
                      </a:pP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00000"/>
                        </a:lnSpc>
                      </a:pPr>
                      <a:endParaRPr lang="ru-RU" sz="1200" baseline="0">
                        <a:solidFill>
                          <a:schemeClr val="bg1"/>
                        </a:solidFill>
                        <a:effectLst/>
                        <a:latin typeface="Cambria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 gridSpan="2">
                  <a:txBody>
                    <a:bodyPr/>
                    <a:lstStyle/>
                    <a:p>
                      <a:pPr indent="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1200" baseline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>
                    <a:noFill/>
                  </a:tcPr>
                </a:tc>
                <a:tc rowSpan="4">
                  <a:txBody>
                    <a:bodyPr/>
                    <a:lstStyle/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>
                    <a:noFill/>
                  </a:tcPr>
                </a:tc>
                <a:tc rowSpan="4">
                  <a:txBody>
                    <a:bodyPr/>
                    <a:lstStyle/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>
                    <a:noFill/>
                  </a:tcPr>
                </a:tc>
              </a:tr>
              <a:tr h="38590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indent="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200" baseline="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 gridSpan="4">
                  <a:txBody>
                    <a:bodyPr/>
                    <a:lstStyle/>
                    <a:p>
                      <a:pPr indent="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 dirty="0">
                          <a:solidFill>
                            <a:schemeClr val="bg1"/>
                          </a:solidFill>
                          <a:effectLst/>
                        </a:rPr>
                        <a:t>Разработка и регистрация РФП на основе пептида</a:t>
                      </a: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52690" marR="52690" marT="26345" marB="26345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indent="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200" baseline="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>
                    <a:noFill/>
                  </a:tcPr>
                </a:tc>
                <a:tc vMerge="1">
                  <a:txBody>
                    <a:bodyPr/>
                    <a:lstStyle/>
                    <a:p>
                      <a:pPr indent="0">
                        <a:lnSpc>
                          <a:spcPct val="100000"/>
                        </a:lnSpc>
                      </a:pPr>
                      <a:endParaRPr lang="ru-RU" sz="1200" baseline="0" dirty="0">
                        <a:effectLst/>
                        <a:latin typeface="Cambria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 vMerge="1">
                  <a:txBody>
                    <a:bodyPr/>
                    <a:lstStyle/>
                    <a:p>
                      <a:pPr indent="0">
                        <a:lnSpc>
                          <a:spcPct val="100000"/>
                        </a:lnSpc>
                      </a:pPr>
                      <a:endParaRPr lang="ru-RU" sz="1200" baseline="0" dirty="0">
                        <a:effectLst/>
                        <a:latin typeface="Cambria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 gridSpan="3">
                  <a:txBody>
                    <a:bodyPr/>
                    <a:lstStyle/>
                    <a:p>
                      <a:pPr indent="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 dirty="0" err="1">
                          <a:solidFill>
                            <a:schemeClr val="bg1"/>
                          </a:solidFill>
                          <a:effectLst/>
                        </a:rPr>
                        <a:t>Госрегистрация</a:t>
                      </a: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52690" marR="52690" marT="26345" marB="26345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>
                    <a:noFill/>
                  </a:tcPr>
                </a:tc>
                <a:tc vMerge="1">
                  <a:txBody>
                    <a:bodyPr/>
                    <a:lstStyle/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noFill/>
                  </a:tcPr>
                </a:tc>
                <a:tc vMerge="1">
                  <a:txBody>
                    <a:bodyPr/>
                    <a:lstStyle/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>
                    <a:noFill/>
                  </a:tcPr>
                </a:tc>
              </a:tr>
              <a:tr h="38590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indent="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200" baseline="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 gridSpan="4">
                  <a:txBody>
                    <a:bodyPr/>
                    <a:lstStyle/>
                    <a:p>
                      <a:pPr indent="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 dirty="0">
                          <a:solidFill>
                            <a:schemeClr val="bg1"/>
                          </a:solidFill>
                          <a:effectLst/>
                        </a:rPr>
                        <a:t>Разработка и регистрация </a:t>
                      </a:r>
                      <a:r>
                        <a:rPr lang="ru-RU" sz="1200" baseline="0" dirty="0" err="1">
                          <a:solidFill>
                            <a:schemeClr val="bg1"/>
                          </a:solidFill>
                          <a:effectLst/>
                        </a:rPr>
                        <a:t>медизделий</a:t>
                      </a:r>
                      <a:r>
                        <a:rPr lang="ru-RU" sz="1200" baseline="0" dirty="0">
                          <a:solidFill>
                            <a:schemeClr val="bg1"/>
                          </a:solidFill>
                          <a:effectLst/>
                        </a:rPr>
                        <a:t> на основе микросфер</a:t>
                      </a: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52690" marR="52690" marT="26345" marB="26345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indent="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200" baseline="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>
                    <a:noFill/>
                  </a:tcPr>
                </a:tc>
                <a:tc vMerge="1">
                  <a:txBody>
                    <a:bodyPr/>
                    <a:lstStyle/>
                    <a:p>
                      <a:pPr indent="0">
                        <a:lnSpc>
                          <a:spcPct val="100000"/>
                        </a:lnSpc>
                      </a:pPr>
                      <a:endParaRPr lang="ru-RU" sz="1200" baseline="0" dirty="0">
                        <a:effectLst/>
                        <a:latin typeface="Cambria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 vMerge="1">
                  <a:txBody>
                    <a:bodyPr/>
                    <a:lstStyle/>
                    <a:p>
                      <a:pPr indent="0">
                        <a:lnSpc>
                          <a:spcPct val="100000"/>
                        </a:lnSpc>
                      </a:pPr>
                      <a:endParaRPr lang="ru-RU" sz="1200" baseline="0" dirty="0">
                        <a:effectLst/>
                        <a:latin typeface="Cambria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 gridSpan="3">
                  <a:txBody>
                    <a:bodyPr/>
                    <a:lstStyle/>
                    <a:p>
                      <a:pPr indent="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 dirty="0" err="1">
                          <a:solidFill>
                            <a:schemeClr val="bg1"/>
                          </a:solidFill>
                          <a:effectLst/>
                        </a:rPr>
                        <a:t>Госрегистрация</a:t>
                      </a: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52690" marR="52690" marT="26345" marB="26345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>
                    <a:noFill/>
                  </a:tcPr>
                </a:tc>
                <a:tc vMerge="1">
                  <a:txBody>
                    <a:bodyPr/>
                    <a:lstStyle/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noFill/>
                  </a:tcPr>
                </a:tc>
                <a:tc vMerge="1">
                  <a:txBody>
                    <a:bodyPr/>
                    <a:lstStyle/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>
                    <a:noFill/>
                  </a:tcPr>
                </a:tc>
              </a:tr>
              <a:tr h="38590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indent="0">
                        <a:lnSpc>
                          <a:spcPct val="100000"/>
                        </a:lnSpc>
                      </a:pPr>
                      <a:endParaRPr lang="ru-RU" sz="1200" baseline="0" dirty="0">
                        <a:effectLst/>
                        <a:latin typeface="Cambria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00000"/>
                        </a:lnSpc>
                      </a:pP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 gridSpan="7">
                  <a:txBody>
                    <a:bodyPr/>
                    <a:lstStyle/>
                    <a:p>
                      <a:pPr indent="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 dirty="0">
                          <a:solidFill>
                            <a:schemeClr val="bg1"/>
                          </a:solidFill>
                          <a:effectLst/>
                        </a:rPr>
                        <a:t>Разработка и регистрация прочих РФП по номенклатуре</a:t>
                      </a: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52690" marR="52690" marT="26345" marB="26345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>
                    <a:noFill/>
                  </a:tcPr>
                </a:tc>
                <a:tc vMerge="1">
                  <a:txBody>
                    <a:bodyPr/>
                    <a:lstStyle/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>
                    <a:noFill/>
                  </a:tcPr>
                </a:tc>
                <a:tc vMerge="1">
                  <a:txBody>
                    <a:bodyPr/>
                    <a:lstStyle/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>
                    <a:noFill/>
                  </a:tcPr>
                </a:tc>
              </a:tr>
              <a:tr h="522232">
                <a:tc rowSpan="3">
                  <a:txBody>
                    <a:bodyPr/>
                    <a:lstStyle/>
                    <a:p>
                      <a:pPr indent="0" algn="just">
                        <a:lnSpc>
                          <a:spcPct val="130000"/>
                        </a:lnSpc>
                        <a:spcAft>
                          <a:spcPts val="1000"/>
                        </a:spcAft>
                      </a:pPr>
                      <a:r>
                        <a:rPr lang="ru-RU" sz="1600" b="1" dirty="0">
                          <a:effectLst/>
                        </a:rPr>
                        <a:t>Создание </a:t>
                      </a:r>
                      <a:r>
                        <a:rPr lang="ru-RU" sz="1600" b="1" dirty="0" smtClean="0">
                          <a:effectLst/>
                        </a:rPr>
                        <a:t>производств</a:t>
                      </a:r>
                      <a:endParaRPr lang="ru-RU" sz="1600" b="1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52690" marR="52690" marT="26345" marB="26345">
                    <a:solidFill>
                      <a:schemeClr val="bg2">
                        <a:lumMod val="7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indent="0">
                        <a:lnSpc>
                          <a:spcPct val="100000"/>
                        </a:lnSpc>
                      </a:pP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 rowSpan="3">
                  <a:txBody>
                    <a:bodyPr/>
                    <a:lstStyle/>
                    <a:p>
                      <a:pPr indent="0">
                        <a:lnSpc>
                          <a:spcPct val="100000"/>
                        </a:lnSpc>
                      </a:pP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 rowSpan="3">
                  <a:txBody>
                    <a:bodyPr/>
                    <a:lstStyle/>
                    <a:p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>
                  <a:txBody>
                    <a:bodyPr/>
                    <a:lstStyle/>
                    <a:p>
                      <a:pPr indent="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 dirty="0" smtClean="0">
                          <a:solidFill>
                            <a:schemeClr val="bg1"/>
                          </a:solidFill>
                          <a:effectLst/>
                        </a:rPr>
                        <a:t>Проектирование</a:t>
                      </a: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52690" marR="52690" marT="26345" marB="26345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>
                        <a:solidFill>
                          <a:schemeClr val="bg1"/>
                        </a:solidFill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00000"/>
                        </a:lnSpc>
                      </a:pP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 rowSpan="2">
                  <a:txBody>
                    <a:bodyPr/>
                    <a:lstStyle/>
                    <a:p>
                      <a:pPr indent="0">
                        <a:lnSpc>
                          <a:spcPct val="100000"/>
                        </a:lnSpc>
                      </a:pP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 rowSpan="2" gridSpan="2">
                  <a:txBody>
                    <a:bodyPr/>
                    <a:lstStyle/>
                    <a:p>
                      <a:pPr indent="0">
                        <a:lnSpc>
                          <a:spcPct val="100000"/>
                        </a:lnSpc>
                      </a:pP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indent="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  <a:p>
                      <a:pPr indent="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  <a:p>
                      <a:pPr indent="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>
                    <a:noFill/>
                  </a:tcPr>
                </a:tc>
                <a:tc rowSpan="3">
                  <a:txBody>
                    <a:bodyPr/>
                    <a:lstStyle/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>
                    <a:noFill/>
                  </a:tcPr>
                </a:tc>
                <a:tc rowSpan="3">
                  <a:txBody>
                    <a:bodyPr/>
                    <a:lstStyle/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>
                    <a:noFill/>
                  </a:tcPr>
                </a:tc>
                <a:tc rowSpan="3">
                  <a:txBody>
                    <a:bodyPr/>
                    <a:lstStyle/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  <a:endParaRPr lang="ru-RU" sz="12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>
                    <a:noFill/>
                  </a:tcPr>
                </a:tc>
              </a:tr>
              <a:tr h="38590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indent="0">
                        <a:lnSpc>
                          <a:spcPct val="100000"/>
                        </a:lnSpc>
                      </a:pP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 vMerge="1">
                  <a:txBody>
                    <a:bodyPr/>
                    <a:lstStyle/>
                    <a:p>
                      <a:pPr indent="0">
                        <a:lnSpc>
                          <a:spcPct val="100000"/>
                        </a:lnSpc>
                      </a:pP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 rowSpan="2">
                  <a:txBody>
                    <a:bodyPr/>
                    <a:lstStyle/>
                    <a:p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 gridSpan="3">
                  <a:txBody>
                    <a:bodyPr/>
                    <a:lstStyle/>
                    <a:p>
                      <a:pPr indent="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 dirty="0">
                          <a:solidFill>
                            <a:schemeClr val="bg1"/>
                          </a:solidFill>
                          <a:effectLst/>
                        </a:rPr>
                        <a:t>Строительно-монтажные работы</a:t>
                      </a: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52690" marR="52690" marT="26345" marB="26345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indent="0">
                        <a:lnSpc>
                          <a:spcPct val="100000"/>
                        </a:lnSpc>
                      </a:pP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 gridSpan="2" vMerge="1">
                  <a:txBody>
                    <a:bodyPr/>
                    <a:lstStyle/>
                    <a:p>
                      <a:pPr indent="0">
                        <a:lnSpc>
                          <a:spcPct val="100000"/>
                        </a:lnSpc>
                      </a:pP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indent="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>
                    <a:noFill/>
                  </a:tcPr>
                </a:tc>
                <a:tc vMerge="1">
                  <a:txBody>
                    <a:bodyPr/>
                    <a:lstStyle/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>
                    <a:noFill/>
                  </a:tcPr>
                </a:tc>
                <a:tc vMerge="1">
                  <a:txBody>
                    <a:bodyPr/>
                    <a:lstStyle/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>
                    <a:noFill/>
                  </a:tcPr>
                </a:tc>
                <a:tc vMerge="1">
                  <a:txBody>
                    <a:bodyPr/>
                    <a:lstStyle/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>
                    <a:noFill/>
                  </a:tcPr>
                </a:tc>
              </a:tr>
              <a:tr h="86438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indent="0">
                        <a:lnSpc>
                          <a:spcPct val="100000"/>
                        </a:lnSpc>
                      </a:pP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 vMerge="1">
                  <a:txBody>
                    <a:bodyPr/>
                    <a:lstStyle/>
                    <a:p>
                      <a:pPr indent="0">
                        <a:lnSpc>
                          <a:spcPct val="100000"/>
                        </a:lnSpc>
                      </a:pP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>
                  <a:txBody>
                    <a:bodyPr/>
                    <a:lstStyle/>
                    <a:p>
                      <a:pPr indent="0">
                        <a:lnSpc>
                          <a:spcPct val="100000"/>
                        </a:lnSpc>
                      </a:pP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 gridSpan="3">
                  <a:txBody>
                    <a:bodyPr/>
                    <a:lstStyle/>
                    <a:p>
                      <a:pPr indent="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 dirty="0">
                          <a:solidFill>
                            <a:schemeClr val="bg1"/>
                          </a:solidFill>
                          <a:effectLst/>
                        </a:rPr>
                        <a:t>Пуско-наладка, получение разрешительной документации, </a:t>
                      </a:r>
                      <a:r>
                        <a:rPr lang="ru-RU" sz="1200" baseline="0" dirty="0" err="1">
                          <a:solidFill>
                            <a:schemeClr val="bg1"/>
                          </a:solidFill>
                          <a:effectLst/>
                        </a:rPr>
                        <a:t>валидация</a:t>
                      </a: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52690" marR="52690" marT="26345" marB="26345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indent="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200" baseline="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>
                    <a:noFill/>
                  </a:tcPr>
                </a:tc>
                <a:tc vMerge="1">
                  <a:txBody>
                    <a:bodyPr/>
                    <a:lstStyle/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>
                    <a:noFill/>
                  </a:tcPr>
                </a:tc>
                <a:tc vMerge="1">
                  <a:txBody>
                    <a:bodyPr/>
                    <a:lstStyle/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>
                    <a:noFill/>
                  </a:tcPr>
                </a:tc>
                <a:tc vMerge="1">
                  <a:txBody>
                    <a:bodyPr/>
                    <a:lstStyle/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0" marR="0" marT="0" marB="0">
                    <a:noFill/>
                  </a:tcPr>
                </a:tc>
              </a:tr>
              <a:tr h="414903">
                <a:tc>
                  <a:txBody>
                    <a:bodyPr/>
                    <a:lstStyle/>
                    <a:p>
                      <a:pPr indent="0" algn="just">
                        <a:lnSpc>
                          <a:spcPct val="13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</a:rPr>
                        <a:t>Маркетинговые работы</a:t>
                      </a:r>
                      <a:endParaRPr lang="ru-RU" sz="1600" b="1" dirty="0">
                        <a:effectLst/>
                        <a:latin typeface="Cambria"/>
                        <a:ea typeface="MS Mincho"/>
                        <a:cs typeface="Times New Roman"/>
                      </a:endParaRPr>
                    </a:p>
                  </a:txBody>
                  <a:tcPr marL="52690" marR="52690" marT="26345" marB="26345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/>
                      <a:endParaRPr lang="ru-RU" sz="1200">
                        <a:solidFill>
                          <a:schemeClr val="bg1"/>
                        </a:solidFill>
                        <a:effectLst/>
                        <a:latin typeface="Cambria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>
                  <a:txBody>
                    <a:bodyPr/>
                    <a:lstStyle/>
                    <a:p>
                      <a:pPr indent="0"/>
                      <a:endParaRPr lang="ru-RU" sz="1200">
                        <a:solidFill>
                          <a:schemeClr val="bg1"/>
                        </a:solidFill>
                        <a:effectLst/>
                        <a:latin typeface="Cambria"/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>
                  <a:txBody>
                    <a:bodyPr/>
                    <a:lstStyle/>
                    <a:p>
                      <a:endParaRPr lang="ru-RU">
                        <a:solidFill>
                          <a:schemeClr val="bg1"/>
                        </a:solidFill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>
                  <a:txBody>
                    <a:bodyPr/>
                    <a:lstStyle/>
                    <a:p>
                      <a:endParaRPr lang="ru-RU">
                        <a:solidFill>
                          <a:schemeClr val="bg1"/>
                        </a:solidFill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>
                  <a:txBody>
                    <a:bodyPr/>
                    <a:lstStyle/>
                    <a:p>
                      <a:endParaRPr lang="ru-RU">
                        <a:solidFill>
                          <a:schemeClr val="bg1"/>
                        </a:solidFill>
                      </a:endParaRPr>
                    </a:p>
                  </a:txBody>
                  <a:tcPr marL="52690" marR="52690" marT="26345" marB="26345">
                    <a:noFill/>
                  </a:tcPr>
                </a:tc>
                <a:tc gridSpan="9"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Внедрение продукции</a:t>
                      </a:r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 marL="52690" marR="52690" marT="26345" marB="26345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2627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tgNq0oHkyeoool84ned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tgNq0oHkyeoool84ned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tgNq0oHkyeoool84ned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tgNq0oHkyeoool84ned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tgNq0oHkyeoool84ned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tgNq0oHkyeoool84ned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tgNq0oHkyeoool84ne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tgNq0oHkyeoool84ned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tgNq0oHkyeoool84ned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tgNq0oHkyeoool84ned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tgNq0oHkyeoool84ne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tgNq0oHkyeoool84ned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tgNq0oHkyeoool84ned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tgNq0oHkyeoool84ned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tgNq0oHkyeoool84ne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tgNq0oHkyeoool84ne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tgNq0oHkyeoool84ned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tgNq0oHkyeoool84ne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tgNq0oHkyeoool84ne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tgNq0oHkyeoool84ne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tgNq0oHkyeoool84ne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tgNq0oHkyeoool84nedA"/>
</p:tagLst>
</file>

<file path=ppt/theme/theme1.xml><?xml version="1.0" encoding="utf-8"?>
<a:theme xmlns:a="http://schemas.openxmlformats.org/drawingml/2006/main" name="HDOfficeLightV0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M02900688[[fn=Аспект]]</Template>
  <TotalTime>14541</TotalTime>
  <Words>2464</Words>
  <Application>Microsoft Office PowerPoint</Application>
  <PresentationFormat>Экран (4:3)</PresentationFormat>
  <Paragraphs>498</Paragraphs>
  <Slides>20</Slides>
  <Notes>3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20</vt:i4>
      </vt:variant>
    </vt:vector>
  </HeadingPairs>
  <TitlesOfParts>
    <vt:vector size="22" baseType="lpstr">
      <vt:lpstr>HDOfficeLightV0</vt:lpstr>
      <vt:lpstr>Специальное оформление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FMB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Nataliya Shandala</dc:creator>
  <cp:lastModifiedBy>Admin</cp:lastModifiedBy>
  <cp:revision>621</cp:revision>
  <dcterms:created xsi:type="dcterms:W3CDTF">2007-05-03T11:36:54Z</dcterms:created>
  <dcterms:modified xsi:type="dcterms:W3CDTF">2018-03-29T12:55:17Z</dcterms:modified>
</cp:coreProperties>
</file>